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charts/chart3.xml" ContentType="application/vnd.openxmlformats-officedocument.drawingml.chart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4.xml" ContentType="application/vnd.openxmlformats-officedocument.presentationml.notesSlide+xml"/>
  <Override PartName="/ppt/tags/tag5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4" r:id="rId4"/>
    <p:sldMasterId id="2147483667" r:id="rId5"/>
  </p:sldMasterIdLst>
  <p:notesMasterIdLst>
    <p:notesMasterId r:id="rId34"/>
  </p:notesMasterIdLst>
  <p:sldIdLst>
    <p:sldId id="261" r:id="rId6"/>
    <p:sldId id="320" r:id="rId7"/>
    <p:sldId id="324" r:id="rId8"/>
    <p:sldId id="325" r:id="rId9"/>
    <p:sldId id="326" r:id="rId10"/>
    <p:sldId id="327" r:id="rId11"/>
    <p:sldId id="328" r:id="rId12"/>
    <p:sldId id="329" r:id="rId13"/>
    <p:sldId id="330" r:id="rId14"/>
    <p:sldId id="331" r:id="rId15"/>
    <p:sldId id="319" r:id="rId16"/>
    <p:sldId id="306" r:id="rId17"/>
    <p:sldId id="301" r:id="rId18"/>
    <p:sldId id="302" r:id="rId19"/>
    <p:sldId id="311" r:id="rId20"/>
    <p:sldId id="312" r:id="rId21"/>
    <p:sldId id="318" r:id="rId22"/>
    <p:sldId id="313" r:id="rId23"/>
    <p:sldId id="308" r:id="rId24"/>
    <p:sldId id="303" r:id="rId25"/>
    <p:sldId id="304" r:id="rId26"/>
    <p:sldId id="309" r:id="rId27"/>
    <p:sldId id="305" r:id="rId28"/>
    <p:sldId id="310" r:id="rId29"/>
    <p:sldId id="307" r:id="rId30"/>
    <p:sldId id="315" r:id="rId31"/>
    <p:sldId id="317" r:id="rId32"/>
    <p:sldId id="316" r:id="rId33"/>
  </p:sldIdLst>
  <p:sldSz cx="9901238" cy="6858000"/>
  <p:notesSz cx="6797675" cy="9926638"/>
  <p:custDataLst>
    <p:tags r:id="rId3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974">
          <p15:clr>
            <a:srgbClr val="A4A3A4"/>
          </p15:clr>
        </p15:guide>
        <p15:guide id="2" orient="horz" pos="2614">
          <p15:clr>
            <a:srgbClr val="A4A3A4"/>
          </p15:clr>
        </p15:guide>
        <p15:guide id="3" orient="horz" pos="1253">
          <p15:clr>
            <a:srgbClr val="A4A3A4"/>
          </p15:clr>
        </p15:guide>
        <p15:guide id="4" orient="horz" pos="1117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pos="6111">
          <p15:clr>
            <a:srgbClr val="A4A3A4"/>
          </p15:clr>
        </p15:guide>
        <p15:guide id="7" pos="4615">
          <p15:clr>
            <a:srgbClr val="A4A3A4"/>
          </p15:clr>
        </p15:guide>
        <p15:guide id="8" pos="3119">
          <p15:clr>
            <a:srgbClr val="A4A3A4"/>
          </p15:clr>
        </p15:guide>
        <p15:guide id="9" pos="1622">
          <p15:clr>
            <a:srgbClr val="A4A3A4"/>
          </p15:clr>
        </p15:guide>
        <p15:guide id="10" pos="126">
          <p15:clr>
            <a:srgbClr val="A4A3A4"/>
          </p15:clr>
        </p15:guide>
        <p15:guide id="11" pos="2121">
          <p15:clr>
            <a:srgbClr val="A4A3A4"/>
          </p15:clr>
        </p15:guide>
        <p15:guide id="12" pos="4116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46973"/>
    <a:srgbClr val="F20000"/>
    <a:srgbClr val="FFB3B3"/>
    <a:srgbClr val="8CB90F"/>
    <a:srgbClr val="FF0000"/>
    <a:srgbClr val="FDF6B1"/>
    <a:srgbClr val="004BB4"/>
    <a:srgbClr val="E67800"/>
    <a:srgbClr val="F0CD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66" autoAdjust="0"/>
    <p:restoredTop sz="94051" autoAdjust="0"/>
  </p:normalViewPr>
  <p:slideViewPr>
    <p:cSldViewPr>
      <p:cViewPr>
        <p:scale>
          <a:sx n="80" d="100"/>
          <a:sy n="80" d="100"/>
        </p:scale>
        <p:origin x="-1478" y="-134"/>
      </p:cViewPr>
      <p:guideLst>
        <p:guide orient="horz" pos="3974"/>
        <p:guide orient="horz" pos="2614"/>
        <p:guide orient="horz" pos="1253"/>
        <p:guide orient="horz" pos="1117"/>
        <p:guide orient="horz" pos="890"/>
        <p:guide pos="6111"/>
        <p:guide pos="4615"/>
        <p:guide pos="3119"/>
        <p:guide pos="1622"/>
        <p:guide pos="126"/>
        <p:guide pos="2121"/>
        <p:guide pos="411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1" d="100"/>
        <a:sy n="81" d="100"/>
      </p:scale>
      <p:origin x="0" y="0"/>
    </p:cViewPr>
  </p:sorterViewPr>
  <p:notesViewPr>
    <p:cSldViewPr>
      <p:cViewPr varScale="1">
        <p:scale>
          <a:sx n="54" d="100"/>
          <a:sy n="54" d="100"/>
        </p:scale>
        <p:origin x="-2538" y="-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Users\PatrickBreun\Desktop\neXt_lab_part%202\Ganzjaehriger%20Fahrplan\Belegung\Testcode\Auswertungen\Ergebnis_TPN_Test_Wochencluster_2015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Users\PatrickBreun\Desktop\neXt_lab_part%202\Ganzjaehriger%20Fahrplan\Belegung\Testcode\Auswertungen\Ergebnis_TPN_Test_Wochencluster_2015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Users\PatrickBreun\Desktop\neXt_lab_part%202\Ganzjaehriger%20Fahrplan\Belegung\Testcode\Auswertungen\Ergebnis_TPN_Test_Wochencluster_2015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0066"/>
            </a:solidFill>
          </c:spPr>
          <c:invertIfNegative val="0"/>
          <c:cat>
            <c:numRef>
              <c:f>Auswertung!$J$61:$J$113</c:f>
              <c:numCache>
                <c:formatCode>General</c:formatCode>
                <c:ptCount val="53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</c:numCache>
            </c:numRef>
          </c:cat>
          <c:val>
            <c:numRef>
              <c:f>Auswertung!$K$61:$K$113</c:f>
              <c:numCache>
                <c:formatCode>General</c:formatCode>
                <c:ptCount val="53"/>
                <c:pt idx="0">
                  <c:v>8230</c:v>
                </c:pt>
                <c:pt idx="1">
                  <c:v>31</c:v>
                </c:pt>
                <c:pt idx="2">
                  <c:v>6</c:v>
                </c:pt>
                <c:pt idx="3">
                  <c:v>50</c:v>
                </c:pt>
                <c:pt idx="4">
                  <c:v>233</c:v>
                </c:pt>
                <c:pt idx="5">
                  <c:v>8</c:v>
                </c:pt>
                <c:pt idx="6">
                  <c:v>11</c:v>
                </c:pt>
                <c:pt idx="7">
                  <c:v>2</c:v>
                </c:pt>
                <c:pt idx="8">
                  <c:v>20</c:v>
                </c:pt>
                <c:pt idx="9">
                  <c:v>9</c:v>
                </c:pt>
                <c:pt idx="10">
                  <c:v>55</c:v>
                </c:pt>
                <c:pt idx="11">
                  <c:v>51</c:v>
                </c:pt>
                <c:pt idx="12">
                  <c:v>137</c:v>
                </c:pt>
                <c:pt idx="13">
                  <c:v>3</c:v>
                </c:pt>
                <c:pt idx="14">
                  <c:v>312</c:v>
                </c:pt>
                <c:pt idx="15">
                  <c:v>782</c:v>
                </c:pt>
                <c:pt idx="16">
                  <c:v>764</c:v>
                </c:pt>
                <c:pt idx="17">
                  <c:v>341</c:v>
                </c:pt>
                <c:pt idx="18">
                  <c:v>363</c:v>
                </c:pt>
                <c:pt idx="19">
                  <c:v>228</c:v>
                </c:pt>
                <c:pt idx="20">
                  <c:v>47</c:v>
                </c:pt>
                <c:pt idx="21">
                  <c:v>135</c:v>
                </c:pt>
                <c:pt idx="22">
                  <c:v>106</c:v>
                </c:pt>
                <c:pt idx="23">
                  <c:v>256</c:v>
                </c:pt>
                <c:pt idx="24">
                  <c:v>26</c:v>
                </c:pt>
                <c:pt idx="25">
                  <c:v>6</c:v>
                </c:pt>
                <c:pt idx="26">
                  <c:v>75</c:v>
                </c:pt>
                <c:pt idx="27">
                  <c:v>46</c:v>
                </c:pt>
                <c:pt idx="28">
                  <c:v>762</c:v>
                </c:pt>
                <c:pt idx="29">
                  <c:v>335</c:v>
                </c:pt>
                <c:pt idx="30">
                  <c:v>39</c:v>
                </c:pt>
                <c:pt idx="31">
                  <c:v>616</c:v>
                </c:pt>
                <c:pt idx="32">
                  <c:v>24</c:v>
                </c:pt>
                <c:pt idx="33">
                  <c:v>411</c:v>
                </c:pt>
                <c:pt idx="34">
                  <c:v>470</c:v>
                </c:pt>
                <c:pt idx="35">
                  <c:v>825</c:v>
                </c:pt>
                <c:pt idx="36">
                  <c:v>258</c:v>
                </c:pt>
                <c:pt idx="37">
                  <c:v>800</c:v>
                </c:pt>
                <c:pt idx="38">
                  <c:v>219</c:v>
                </c:pt>
                <c:pt idx="39">
                  <c:v>1590</c:v>
                </c:pt>
                <c:pt idx="40">
                  <c:v>353</c:v>
                </c:pt>
                <c:pt idx="41">
                  <c:v>44</c:v>
                </c:pt>
                <c:pt idx="42">
                  <c:v>581</c:v>
                </c:pt>
                <c:pt idx="43">
                  <c:v>3</c:v>
                </c:pt>
                <c:pt idx="44">
                  <c:v>558</c:v>
                </c:pt>
                <c:pt idx="45">
                  <c:v>464</c:v>
                </c:pt>
                <c:pt idx="46">
                  <c:v>300</c:v>
                </c:pt>
                <c:pt idx="47">
                  <c:v>207</c:v>
                </c:pt>
                <c:pt idx="48">
                  <c:v>21</c:v>
                </c:pt>
                <c:pt idx="49">
                  <c:v>0</c:v>
                </c:pt>
                <c:pt idx="50">
                  <c:v>101</c:v>
                </c:pt>
                <c:pt idx="51">
                  <c:v>77</c:v>
                </c:pt>
                <c:pt idx="52">
                  <c:v>846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1719680"/>
        <c:axId val="171758336"/>
      </c:barChart>
      <c:catAx>
        <c:axId val="1717196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71758336"/>
        <c:crosses val="autoZero"/>
        <c:auto val="1"/>
        <c:lblAlgn val="ctr"/>
        <c:lblOffset val="100"/>
        <c:noMultiLvlLbl val="0"/>
      </c:catAx>
      <c:valAx>
        <c:axId val="171758336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717196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0066"/>
            </a:solidFill>
          </c:spPr>
          <c:invertIfNegative val="0"/>
          <c:cat>
            <c:numRef>
              <c:f>Auswertung!$J$62:$J$112</c:f>
              <c:numCache>
                <c:formatCode>General</c:formatCode>
                <c:ptCount val="51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6</c:v>
                </c:pt>
                <c:pt idx="15">
                  <c:v>17</c:v>
                </c:pt>
                <c:pt idx="16">
                  <c:v>18</c:v>
                </c:pt>
                <c:pt idx="17">
                  <c:v>19</c:v>
                </c:pt>
                <c:pt idx="18">
                  <c:v>20</c:v>
                </c:pt>
                <c:pt idx="19">
                  <c:v>21</c:v>
                </c:pt>
                <c:pt idx="20">
                  <c:v>22</c:v>
                </c:pt>
                <c:pt idx="21">
                  <c:v>23</c:v>
                </c:pt>
                <c:pt idx="22">
                  <c:v>24</c:v>
                </c:pt>
                <c:pt idx="23">
                  <c:v>25</c:v>
                </c:pt>
                <c:pt idx="24">
                  <c:v>26</c:v>
                </c:pt>
                <c:pt idx="25">
                  <c:v>27</c:v>
                </c:pt>
                <c:pt idx="26">
                  <c:v>28</c:v>
                </c:pt>
                <c:pt idx="27">
                  <c:v>29</c:v>
                </c:pt>
                <c:pt idx="28">
                  <c:v>30</c:v>
                </c:pt>
                <c:pt idx="29">
                  <c:v>31</c:v>
                </c:pt>
                <c:pt idx="30">
                  <c:v>32</c:v>
                </c:pt>
                <c:pt idx="31">
                  <c:v>33</c:v>
                </c:pt>
                <c:pt idx="32">
                  <c:v>34</c:v>
                </c:pt>
                <c:pt idx="33">
                  <c:v>35</c:v>
                </c:pt>
                <c:pt idx="34">
                  <c:v>36</c:v>
                </c:pt>
                <c:pt idx="35">
                  <c:v>37</c:v>
                </c:pt>
                <c:pt idx="36">
                  <c:v>38</c:v>
                </c:pt>
                <c:pt idx="37">
                  <c:v>39</c:v>
                </c:pt>
                <c:pt idx="38">
                  <c:v>40</c:v>
                </c:pt>
                <c:pt idx="39">
                  <c:v>41</c:v>
                </c:pt>
                <c:pt idx="40">
                  <c:v>42</c:v>
                </c:pt>
                <c:pt idx="41">
                  <c:v>43</c:v>
                </c:pt>
                <c:pt idx="42">
                  <c:v>44</c:v>
                </c:pt>
                <c:pt idx="43">
                  <c:v>45</c:v>
                </c:pt>
                <c:pt idx="44">
                  <c:v>46</c:v>
                </c:pt>
                <c:pt idx="45">
                  <c:v>47</c:v>
                </c:pt>
                <c:pt idx="46">
                  <c:v>48</c:v>
                </c:pt>
                <c:pt idx="47">
                  <c:v>49</c:v>
                </c:pt>
                <c:pt idx="48">
                  <c:v>50</c:v>
                </c:pt>
                <c:pt idx="49">
                  <c:v>51</c:v>
                </c:pt>
                <c:pt idx="50">
                  <c:v>52</c:v>
                </c:pt>
              </c:numCache>
            </c:numRef>
          </c:cat>
          <c:val>
            <c:numRef>
              <c:f>Auswertung!$K$62:$K$112</c:f>
              <c:numCache>
                <c:formatCode>General</c:formatCode>
                <c:ptCount val="51"/>
                <c:pt idx="0">
                  <c:v>31</c:v>
                </c:pt>
                <c:pt idx="1">
                  <c:v>6</c:v>
                </c:pt>
                <c:pt idx="2">
                  <c:v>50</c:v>
                </c:pt>
                <c:pt idx="3">
                  <c:v>233</c:v>
                </c:pt>
                <c:pt idx="4">
                  <c:v>8</c:v>
                </c:pt>
                <c:pt idx="5">
                  <c:v>11</c:v>
                </c:pt>
                <c:pt idx="6">
                  <c:v>2</c:v>
                </c:pt>
                <c:pt idx="7">
                  <c:v>20</c:v>
                </c:pt>
                <c:pt idx="8">
                  <c:v>9</c:v>
                </c:pt>
                <c:pt idx="9">
                  <c:v>55</c:v>
                </c:pt>
                <c:pt idx="10">
                  <c:v>51</c:v>
                </c:pt>
                <c:pt idx="11">
                  <c:v>137</c:v>
                </c:pt>
                <c:pt idx="12">
                  <c:v>3</c:v>
                </c:pt>
                <c:pt idx="13">
                  <c:v>312</c:v>
                </c:pt>
                <c:pt idx="14">
                  <c:v>782</c:v>
                </c:pt>
                <c:pt idx="15">
                  <c:v>764</c:v>
                </c:pt>
                <c:pt idx="16">
                  <c:v>341</c:v>
                </c:pt>
                <c:pt idx="17">
                  <c:v>363</c:v>
                </c:pt>
                <c:pt idx="18">
                  <c:v>228</c:v>
                </c:pt>
                <c:pt idx="19">
                  <c:v>47</c:v>
                </c:pt>
                <c:pt idx="20">
                  <c:v>135</c:v>
                </c:pt>
                <c:pt idx="21">
                  <c:v>106</c:v>
                </c:pt>
                <c:pt idx="22">
                  <c:v>256</c:v>
                </c:pt>
                <c:pt idx="23">
                  <c:v>26</c:v>
                </c:pt>
                <c:pt idx="24">
                  <c:v>6</c:v>
                </c:pt>
                <c:pt idx="25">
                  <c:v>75</c:v>
                </c:pt>
                <c:pt idx="26">
                  <c:v>46</c:v>
                </c:pt>
                <c:pt idx="27">
                  <c:v>762</c:v>
                </c:pt>
                <c:pt idx="28">
                  <c:v>335</c:v>
                </c:pt>
                <c:pt idx="29">
                  <c:v>39</c:v>
                </c:pt>
                <c:pt idx="30">
                  <c:v>616</c:v>
                </c:pt>
                <c:pt idx="31">
                  <c:v>24</c:v>
                </c:pt>
                <c:pt idx="32">
                  <c:v>411</c:v>
                </c:pt>
                <c:pt idx="33">
                  <c:v>470</c:v>
                </c:pt>
                <c:pt idx="34">
                  <c:v>825</c:v>
                </c:pt>
                <c:pt idx="35">
                  <c:v>258</c:v>
                </c:pt>
                <c:pt idx="36">
                  <c:v>800</c:v>
                </c:pt>
                <c:pt idx="37">
                  <c:v>219</c:v>
                </c:pt>
                <c:pt idx="38">
                  <c:v>1590</c:v>
                </c:pt>
                <c:pt idx="39">
                  <c:v>353</c:v>
                </c:pt>
                <c:pt idx="40">
                  <c:v>44</c:v>
                </c:pt>
                <c:pt idx="41">
                  <c:v>581</c:v>
                </c:pt>
                <c:pt idx="42">
                  <c:v>3</c:v>
                </c:pt>
                <c:pt idx="43">
                  <c:v>558</c:v>
                </c:pt>
                <c:pt idx="44">
                  <c:v>464</c:v>
                </c:pt>
                <c:pt idx="45">
                  <c:v>300</c:v>
                </c:pt>
                <c:pt idx="46">
                  <c:v>207</c:v>
                </c:pt>
                <c:pt idx="47">
                  <c:v>21</c:v>
                </c:pt>
                <c:pt idx="48">
                  <c:v>0</c:v>
                </c:pt>
                <c:pt idx="49">
                  <c:v>101</c:v>
                </c:pt>
                <c:pt idx="50">
                  <c:v>7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4778752"/>
        <c:axId val="184780288"/>
      </c:barChart>
      <c:catAx>
        <c:axId val="1847787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84780288"/>
        <c:crosses val="autoZero"/>
        <c:auto val="1"/>
        <c:lblAlgn val="ctr"/>
        <c:lblOffset val="100"/>
        <c:noMultiLvlLbl val="0"/>
      </c:catAx>
      <c:valAx>
        <c:axId val="18478028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84778752"/>
        <c:crosses val="autoZero"/>
        <c:crossBetween val="between"/>
      </c:valAx>
    </c:plotArea>
    <c:plotVisOnly val="1"/>
    <c:dispBlanksAs val="gap"/>
    <c:showDLblsOverMax val="0"/>
  </c:chart>
  <c:spPr>
    <a:solidFill>
      <a:schemeClr val="bg1"/>
    </a:solidFill>
    <a:ln w="28575">
      <a:solidFill>
        <a:schemeClr val="tx1"/>
      </a:solidFill>
    </a:ln>
  </c:spPr>
  <c:txPr>
    <a:bodyPr/>
    <a:lstStyle/>
    <a:p>
      <a:pPr>
        <a:defRPr sz="1400"/>
      </a:pPr>
      <a:endParaRPr lang="de-D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0066"/>
            </a:solidFill>
          </c:spPr>
          <c:invertIfNegative val="0"/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</c:dPt>
          <c:cat>
            <c:strRef>
              <c:f>'VTS-Schlüssel'!$EB$4:$EO$4</c:f>
              <c:strCache>
                <c:ptCount val="14"/>
                <c:pt idx="0">
                  <c:v>So</c:v>
                </c:pt>
                <c:pt idx="1">
                  <c:v>Sa</c:v>
                </c:pt>
                <c:pt idx="2">
                  <c:v>Fr</c:v>
                </c:pt>
                <c:pt idx="3">
                  <c:v>Do</c:v>
                </c:pt>
                <c:pt idx="4">
                  <c:v>Mi</c:v>
                </c:pt>
                <c:pt idx="5">
                  <c:v>Die</c:v>
                </c:pt>
                <c:pt idx="6">
                  <c:v>Die + Do</c:v>
                </c:pt>
                <c:pt idx="7">
                  <c:v>Di - Fr</c:v>
                </c:pt>
                <c:pt idx="8">
                  <c:v>Di - Sa</c:v>
                </c:pt>
                <c:pt idx="9">
                  <c:v>Mo</c:v>
                </c:pt>
                <c:pt idx="10">
                  <c:v>Mo - Fr</c:v>
                </c:pt>
                <c:pt idx="11">
                  <c:v>Mo-Sa</c:v>
                </c:pt>
                <c:pt idx="12">
                  <c:v>täglich</c:v>
                </c:pt>
                <c:pt idx="13">
                  <c:v>Rest</c:v>
                </c:pt>
              </c:strCache>
            </c:strRef>
          </c:cat>
          <c:val>
            <c:numRef>
              <c:f>'VTS-Schlüssel'!$EB$3:$EO$3</c:f>
              <c:numCache>
                <c:formatCode>0</c:formatCode>
                <c:ptCount val="14"/>
                <c:pt idx="0">
                  <c:v>1241</c:v>
                </c:pt>
                <c:pt idx="1">
                  <c:v>1524</c:v>
                </c:pt>
                <c:pt idx="2">
                  <c:v>547</c:v>
                </c:pt>
                <c:pt idx="3">
                  <c:v>437</c:v>
                </c:pt>
                <c:pt idx="4">
                  <c:v>464</c:v>
                </c:pt>
                <c:pt idx="5">
                  <c:v>491</c:v>
                </c:pt>
                <c:pt idx="6">
                  <c:v>379</c:v>
                </c:pt>
                <c:pt idx="7">
                  <c:v>667</c:v>
                </c:pt>
                <c:pt idx="8">
                  <c:v>1089</c:v>
                </c:pt>
                <c:pt idx="9">
                  <c:v>730</c:v>
                </c:pt>
                <c:pt idx="10">
                  <c:v>3111</c:v>
                </c:pt>
                <c:pt idx="11">
                  <c:v>696</c:v>
                </c:pt>
                <c:pt idx="12">
                  <c:v>666</c:v>
                </c:pt>
                <c:pt idx="13">
                  <c:v>288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4509184"/>
        <c:axId val="184510720"/>
      </c:barChart>
      <c:catAx>
        <c:axId val="184509184"/>
        <c:scaling>
          <c:orientation val="minMax"/>
        </c:scaling>
        <c:delete val="0"/>
        <c:axPos val="b"/>
        <c:majorTickMark val="out"/>
        <c:minorTickMark val="none"/>
        <c:tickLblPos val="nextTo"/>
        <c:crossAx val="184510720"/>
        <c:crosses val="autoZero"/>
        <c:auto val="1"/>
        <c:lblAlgn val="ctr"/>
        <c:lblOffset val="100"/>
        <c:noMultiLvlLbl val="0"/>
      </c:catAx>
      <c:valAx>
        <c:axId val="184510720"/>
        <c:scaling>
          <c:orientation val="minMax"/>
        </c:scaling>
        <c:delete val="0"/>
        <c:axPos val="l"/>
        <c:majorGridlines/>
        <c:numFmt formatCode="0" sourceLinked="1"/>
        <c:majorTickMark val="out"/>
        <c:minorTickMark val="none"/>
        <c:tickLblPos val="nextTo"/>
        <c:crossAx val="18450918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58738" y="0"/>
            <a:ext cx="7167563" cy="4964113"/>
          </a:xfrm>
          <a:prstGeom prst="rect">
            <a:avLst/>
          </a:prstGeom>
          <a:noFill/>
          <a:ln w="12700">
            <a:noFill/>
          </a:ln>
        </p:spPr>
        <p:txBody>
          <a:bodyPr vert="horz" lIns="91440" tIns="45720" rIns="91440" bIns="45720" rtlCol="0" anchor="ctr"/>
          <a:lstStyle/>
          <a:p>
            <a:r>
              <a:rPr lang="de-DE" dirty="0"/>
              <a:t>f</a:t>
            </a: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251766" y="5459651"/>
            <a:ext cx="6371610" cy="389429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716651"/>
            <a:ext cx="2945659" cy="2082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 b="1">
                <a:latin typeface="DB Office" pitchFamily="34" charset="0"/>
              </a:defRPr>
            </a:lvl1pPr>
          </a:lstStyle>
          <a:p>
            <a:fld id="{AB1E1A1F-7B51-4F6B-A0A6-8D7DEE98D43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251766" y="9563934"/>
            <a:ext cx="6545909" cy="4963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1" name="Gerade Verbindung 10"/>
          <p:cNvCxnSpPr/>
          <p:nvPr/>
        </p:nvCxnSpPr>
        <p:spPr>
          <a:xfrm>
            <a:off x="251766" y="5192393"/>
            <a:ext cx="6545909" cy="0"/>
          </a:xfrm>
          <a:prstGeom prst="line">
            <a:avLst/>
          </a:prstGeom>
          <a:ln w="19050">
            <a:solidFill>
              <a:schemeClr val="bg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46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buFont typeface="Arial" pitchFamily="34" charset="0"/>
      <a:buNone/>
      <a:defRPr sz="1000" kern="1200">
        <a:solidFill>
          <a:schemeClr val="tx1"/>
        </a:solidFill>
        <a:latin typeface="DB Office" pitchFamily="34" charset="0"/>
        <a:ea typeface="+mn-ea"/>
        <a:cs typeface="+mn-cs"/>
      </a:defRPr>
    </a:lvl1pPr>
    <a:lvl2pPr marL="180975" indent="-171450" algn="l" defTabSz="914400" rtl="0" eaLnBrk="1" latinLnBrk="0" hangingPunct="1">
      <a:spcBef>
        <a:spcPts val="600"/>
      </a:spcBef>
      <a:buClr>
        <a:schemeClr val="bg2"/>
      </a:buClr>
      <a:buFont typeface="Arial" pitchFamily="34" charset="0"/>
      <a:buChar char="•"/>
      <a:defRPr sz="1000" kern="1200">
        <a:solidFill>
          <a:schemeClr val="tx1"/>
        </a:solidFill>
        <a:latin typeface="DB Office" pitchFamily="34" charset="0"/>
        <a:ea typeface="+mn-ea"/>
        <a:cs typeface="+mn-cs"/>
      </a:defRPr>
    </a:lvl2pPr>
    <a:lvl3pPr marL="361950" indent="-161925" algn="l" defTabSz="914400" rtl="0" eaLnBrk="1" latinLnBrk="0" hangingPunct="1">
      <a:buClr>
        <a:schemeClr val="bg2"/>
      </a:buClr>
      <a:buFont typeface="Arial" pitchFamily="34" charset="0"/>
      <a:buChar char="•"/>
      <a:tabLst/>
      <a:defRPr sz="1000" kern="1200">
        <a:solidFill>
          <a:schemeClr val="tx1"/>
        </a:solidFill>
        <a:latin typeface="DB Office" pitchFamily="34" charset="0"/>
        <a:ea typeface="+mn-ea"/>
        <a:cs typeface="+mn-cs"/>
      </a:defRPr>
    </a:lvl3pPr>
    <a:lvl4pPr marL="542925" indent="-171450" algn="l" defTabSz="914400" rtl="0" eaLnBrk="1" latinLnBrk="0" hangingPunct="1">
      <a:buClr>
        <a:schemeClr val="bg2"/>
      </a:buClr>
      <a:buFont typeface="Arial" pitchFamily="34" charset="0"/>
      <a:buChar char="•"/>
      <a:defRPr sz="1000" kern="1200">
        <a:solidFill>
          <a:schemeClr val="tx1"/>
        </a:solidFill>
        <a:latin typeface="DB Office" pitchFamily="34" charset="0"/>
        <a:ea typeface="+mn-ea"/>
        <a:cs typeface="+mn-cs"/>
      </a:defRPr>
    </a:lvl4pPr>
    <a:lvl5pPr marL="714375" indent="-171450" algn="l" defTabSz="914400" rtl="0" eaLnBrk="1" latinLnBrk="0" hangingPunct="1">
      <a:buClr>
        <a:schemeClr val="bg2"/>
      </a:buClr>
      <a:buFont typeface="Arial" pitchFamily="34" charset="0"/>
      <a:buChar char="•"/>
      <a:defRPr sz="1000" kern="1200">
        <a:solidFill>
          <a:schemeClr val="tx1"/>
        </a:solidFill>
        <a:latin typeface="DB Office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1E1A1F-7B51-4F6B-A0A6-8D7DEE98D432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92211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1E1A1F-7B51-4F6B-A0A6-8D7DEE98D432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149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1E1A1F-7B51-4F6B-A0A6-8D7DEE98D432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149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1E1A1F-7B51-4F6B-A0A6-8D7DEE98D432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149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 hidden="1"/>
          <p:cNvSpPr>
            <a:spLocks noGrp="1"/>
          </p:cNvSpPr>
          <p:nvPr>
            <p:ph type="subTitle" idx="1"/>
          </p:nvPr>
        </p:nvSpPr>
        <p:spPr>
          <a:xfrm>
            <a:off x="0" y="0"/>
            <a:ext cx="36000" cy="36000"/>
          </a:xfrm>
        </p:spPr>
        <p:txBody>
          <a:bodyPr/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pic>
        <p:nvPicPr>
          <p:cNvPr id="15" name="TW_PICTURE_PLACEHOLDER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92970"/>
            <a:ext cx="9901238" cy="25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>
          <a:xfrm>
            <a:off x="199929" y="4367035"/>
            <a:ext cx="9501380" cy="863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b="1" kern="1200" dirty="0">
                <a:solidFill>
                  <a:schemeClr val="tx1"/>
                </a:solidFill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Präsentationstitel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99929" y="5231035"/>
            <a:ext cx="9501380" cy="43021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2400" kern="1200" baseline="0" smtClean="0"/>
            </a:lvl1pPr>
            <a:lvl2pPr>
              <a:defRPr lang="de-DE" kern="1200" smtClean="0">
                <a:ea typeface="+mn-ea"/>
                <a:cs typeface="+mn-cs"/>
              </a:defRPr>
            </a:lvl2pPr>
            <a:lvl3pPr>
              <a:defRPr lang="de-DE" kern="1200" smtClean="0">
                <a:ea typeface="+mn-ea"/>
                <a:cs typeface="+mn-cs"/>
              </a:defRPr>
            </a:lvl3pPr>
            <a:lvl4pPr>
              <a:defRPr lang="de-DE" kern="1200" smtClean="0">
                <a:ea typeface="+mn-ea"/>
                <a:cs typeface="+mn-cs"/>
              </a:defRPr>
            </a:lvl4pPr>
            <a:lvl5pPr>
              <a:defRPr lang="de-DE" kern="1200"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Untertitel eintragen</a:t>
            </a:r>
          </a:p>
        </p:txBody>
      </p:sp>
      <p:grpSp>
        <p:nvGrpSpPr>
          <p:cNvPr id="20" name="Gruppieren 19"/>
          <p:cNvGrpSpPr/>
          <p:nvPr userDrawn="1"/>
        </p:nvGrpSpPr>
        <p:grpSpPr>
          <a:xfrm>
            <a:off x="0" y="3212475"/>
            <a:ext cx="9901238" cy="540000"/>
            <a:chOff x="0" y="4653170"/>
            <a:chExt cx="9901238" cy="540000"/>
          </a:xfrm>
          <a:solidFill>
            <a:srgbClr val="878C96"/>
          </a:solidFill>
        </p:grpSpPr>
        <p:sp>
          <p:nvSpPr>
            <p:cNvPr id="21" name="Rectangle 18"/>
            <p:cNvSpPr>
              <a:spLocks noChangeArrowheads="1"/>
            </p:cNvSpPr>
            <p:nvPr/>
          </p:nvSpPr>
          <p:spPr bwMode="gray">
            <a:xfrm>
              <a:off x="1" y="4653170"/>
              <a:ext cx="9901237" cy="270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Rectangle 18"/>
            <p:cNvSpPr>
              <a:spLocks noChangeArrowheads="1"/>
            </p:cNvSpPr>
            <p:nvPr/>
          </p:nvSpPr>
          <p:spPr bwMode="gray">
            <a:xfrm>
              <a:off x="0" y="4653170"/>
              <a:ext cx="7470356" cy="540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0" name="Picture 60" descr="DB-NETZE_rgb_M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48" t="-66" r="82" b="-289"/>
          <a:stretch/>
        </p:blipFill>
        <p:spPr bwMode="auto">
          <a:xfrm>
            <a:off x="8135109" y="188550"/>
            <a:ext cx="1567691" cy="37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6120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>
                <a:solidFill>
                  <a:srgbClr val="000000"/>
                </a:solidFill>
              </a:rPr>
              <a:t>Firma | Referent | Abteilung | 13.05.2015</a:t>
            </a:r>
            <a:endParaRPr lang="de-DE" altLang="de-DE" dirty="0">
              <a:solidFill>
                <a:srgbClr val="000000"/>
              </a:solidFill>
            </a:endParaRPr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>
                <a:solidFill>
                  <a:srgbClr val="000000"/>
                </a:solidFill>
              </a:rPr>
              <a:pPr algn="l"/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239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>
                <a:solidFill>
                  <a:srgbClr val="000000"/>
                </a:solidFill>
              </a:rPr>
              <a:t>Firma | Referent | Abteilung | 13.05.2015</a:t>
            </a:r>
            <a:endParaRPr lang="de-DE" altLang="de-DE" dirty="0">
              <a:solidFill>
                <a:srgbClr val="000000"/>
              </a:solidFill>
            </a:endParaRPr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>
                <a:solidFill>
                  <a:srgbClr val="000000"/>
                </a:solidFill>
              </a:rPr>
              <a:pPr algn="l"/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06054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auto">
          <a:xfrm>
            <a:off x="0" y="1270775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600" dirty="0" err="1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98000" y="1412720"/>
            <a:ext cx="9504000" cy="489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>
                <a:solidFill>
                  <a:srgbClr val="000000"/>
                </a:solidFill>
              </a:rPr>
              <a:t>Firma | Referent | Abteilung | 13.05.2015</a:t>
            </a:r>
            <a:endParaRPr lang="de-DE" altLang="de-DE" dirty="0">
              <a:solidFill>
                <a:srgbClr val="000000"/>
              </a:solidFill>
            </a:endParaRPr>
          </a:p>
        </p:txBody>
      </p:sp>
      <p:sp>
        <p:nvSpPr>
          <p:cNvPr id="1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>
                <a:solidFill>
                  <a:srgbClr val="000000"/>
                </a:solidFill>
              </a:rPr>
              <a:pPr algn="l"/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82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auto">
          <a:xfrm>
            <a:off x="0" y="1270774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600" dirty="0" err="1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98000" y="1412720"/>
            <a:ext cx="4680000" cy="4896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22000" y="1412720"/>
            <a:ext cx="4680000" cy="4896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4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>
                <a:solidFill>
                  <a:srgbClr val="000000"/>
                </a:solidFill>
              </a:rPr>
              <a:t>Firma | Referent | Abteilung | 13.05.2015</a:t>
            </a:r>
            <a:endParaRPr lang="de-DE" altLang="de-DE" dirty="0">
              <a:solidFill>
                <a:srgbClr val="000000"/>
              </a:solidFill>
            </a:endParaRPr>
          </a:p>
        </p:txBody>
      </p:sp>
      <p:sp>
        <p:nvSpPr>
          <p:cNvPr id="15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>
                <a:solidFill>
                  <a:srgbClr val="000000"/>
                </a:solidFill>
              </a:rPr>
              <a:pPr algn="l"/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9522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links / 2 Inhalte rechts 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1270774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600" dirty="0" err="1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>
                <a:solidFill>
                  <a:srgbClr val="000000"/>
                </a:solidFill>
              </a:rPr>
              <a:t>Firma | Referent | Abteilung | 13.05.2015</a:t>
            </a:r>
            <a:endParaRPr lang="de-DE" altLang="de-DE" dirty="0">
              <a:solidFill>
                <a:srgbClr val="000000"/>
              </a:solidFill>
            </a:endParaRPr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>
                <a:solidFill>
                  <a:srgbClr val="000000"/>
                </a:solidFill>
              </a:rPr>
              <a:pPr algn="l"/>
              <a:t>‹Nr.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198000" y="1412720"/>
            <a:ext cx="4680000" cy="489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5021999" y="141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5021999" y="393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593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links / Inhalt rechts 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auto">
          <a:xfrm>
            <a:off x="0" y="1270774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600" dirty="0" err="1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>
                <a:solidFill>
                  <a:srgbClr val="000000"/>
                </a:solidFill>
              </a:rPr>
              <a:t>Firma | Referent | Abteilung | 13.05.2015</a:t>
            </a:r>
            <a:endParaRPr lang="de-DE" altLang="de-DE" dirty="0">
              <a:solidFill>
                <a:srgbClr val="000000"/>
              </a:solidFill>
            </a:endParaRPr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>
                <a:solidFill>
                  <a:srgbClr val="000000"/>
                </a:solidFill>
              </a:rPr>
              <a:pPr algn="l"/>
              <a:t>‹Nr.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197999" y="141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1"/>
          </p:nvPr>
        </p:nvSpPr>
        <p:spPr>
          <a:xfrm>
            <a:off x="197999" y="393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2"/>
          </p:nvPr>
        </p:nvSpPr>
        <p:spPr>
          <a:xfrm>
            <a:off x="5021999" y="1412720"/>
            <a:ext cx="4680000" cy="4896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552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1270775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600" dirty="0" err="1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>
                <a:solidFill>
                  <a:srgbClr val="000000"/>
                </a:solidFill>
              </a:rPr>
              <a:t>Firma | Referent | Abteilung | 13.05.2015</a:t>
            </a:r>
            <a:endParaRPr lang="de-DE" altLang="de-DE" dirty="0">
              <a:solidFill>
                <a:srgbClr val="000000"/>
              </a:solidFill>
            </a:endParaRPr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>
                <a:solidFill>
                  <a:srgbClr val="000000"/>
                </a:solidFill>
              </a:rPr>
              <a:pPr algn="l"/>
              <a:t>‹Nr.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197999" y="141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197999" y="393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5021999" y="141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3"/>
          </p:nvPr>
        </p:nvSpPr>
        <p:spPr>
          <a:xfrm>
            <a:off x="5021999" y="393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3001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>
                <a:solidFill>
                  <a:srgbClr val="000000"/>
                </a:solidFill>
              </a:rPr>
              <a:t>Firma | Referent | Abteilung | 13.05.2015</a:t>
            </a:r>
            <a:endParaRPr lang="de-DE" altLang="de-DE" dirty="0">
              <a:solidFill>
                <a:srgbClr val="000000"/>
              </a:solidFill>
            </a:endParaRPr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>
                <a:solidFill>
                  <a:srgbClr val="000000"/>
                </a:solidFill>
              </a:rPr>
              <a:pPr algn="l"/>
              <a:t>‹Nr.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0" y="1270774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600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0539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1270774"/>
            <a:ext cx="9900000" cy="5184000"/>
          </a:xfrm>
          <a:pattFill prst="wdUpDiag">
            <a:fgClr>
              <a:schemeClr val="accent1"/>
            </a:fgClr>
            <a:bgClr>
              <a:schemeClr val="accent3"/>
            </a:bgClr>
          </a:patt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>
                <a:solidFill>
                  <a:srgbClr val="000000"/>
                </a:solidFill>
              </a:rPr>
              <a:t>Firma | Referent | Abteilung | 13.05.2015</a:t>
            </a:r>
            <a:endParaRPr lang="de-DE" altLang="de-DE" dirty="0">
              <a:solidFill>
                <a:srgbClr val="000000"/>
              </a:solidFill>
            </a:endParaRP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>
                <a:solidFill>
                  <a:srgbClr val="000000"/>
                </a:solidFill>
              </a:rPr>
              <a:pPr algn="l"/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722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(ganzfläch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9900000" cy="6858000"/>
          </a:xfr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endParaRPr lang="de-DE" dirty="0"/>
          </a:p>
        </p:txBody>
      </p:sp>
      <p:sp>
        <p:nvSpPr>
          <p:cNvPr id="8" name="Text Box 5"/>
          <p:cNvSpPr txBox="1">
            <a:spLocks noChangeArrowheads="1"/>
          </p:cNvSpPr>
          <p:nvPr userDrawn="1"/>
        </p:nvSpPr>
        <p:spPr bwMode="auto">
          <a:xfrm>
            <a:off x="0" y="-891600"/>
            <a:ext cx="9901238" cy="847718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eaLnBrk="0" fontAlgn="base" hangingPunct="0">
              <a:spcAft>
                <a:spcPct val="0"/>
              </a:spcAft>
            </a:pPr>
            <a:r>
              <a:rPr lang="de-DE" dirty="0" smtClean="0">
                <a:solidFill>
                  <a:srgbClr val="000000"/>
                </a:solidFill>
              </a:rPr>
              <a:t>Hinweis:</a:t>
            </a:r>
          </a:p>
          <a:p>
            <a:pPr eaLnBrk="0" fontAlgn="base" hangingPunct="0">
              <a:spcAft>
                <a:spcPct val="0"/>
              </a:spcAft>
            </a:pPr>
            <a:r>
              <a:rPr lang="de-DE" b="0" dirty="0" smtClean="0">
                <a:solidFill>
                  <a:srgbClr val="000000"/>
                </a:solidFill>
              </a:rPr>
              <a:t>Bei Bedarf kann eine farbige oder transparente </a:t>
            </a:r>
            <a:r>
              <a:rPr lang="de-DE" b="0" dirty="0" err="1" smtClean="0">
                <a:solidFill>
                  <a:srgbClr val="000000"/>
                </a:solidFill>
              </a:rPr>
              <a:t>Textbox</a:t>
            </a:r>
            <a:r>
              <a:rPr lang="de-DE" b="0" dirty="0" smtClean="0">
                <a:solidFill>
                  <a:srgbClr val="000000"/>
                </a:solidFill>
              </a:rPr>
              <a:t> über den Menüpunkt „Einfügen-Elemente-Standard“ eingefügt werden.</a:t>
            </a:r>
          </a:p>
          <a:p>
            <a:pPr eaLnBrk="0" fontAlgn="base" hangingPunct="0">
              <a:spcAft>
                <a:spcPct val="0"/>
              </a:spcAft>
            </a:pPr>
            <a:r>
              <a:rPr lang="de-DE" b="0" dirty="0" smtClean="0">
                <a:solidFill>
                  <a:srgbClr val="000000"/>
                </a:solidFill>
              </a:rPr>
              <a:t>Sollten Sie eine </a:t>
            </a:r>
            <a:r>
              <a:rPr lang="de-DE" b="0" dirty="0" err="1" smtClean="0">
                <a:solidFill>
                  <a:srgbClr val="000000"/>
                </a:solidFill>
              </a:rPr>
              <a:t>Textbox</a:t>
            </a:r>
            <a:r>
              <a:rPr lang="de-DE" b="0" dirty="0" smtClean="0">
                <a:solidFill>
                  <a:srgbClr val="000000"/>
                </a:solidFill>
              </a:rPr>
              <a:t> einsetzen, müssen Sie, wenn Sie ein bereits eingefügtes Bild austauschen, anschließend das neue Bild wieder in den Hintergrund stellen.</a:t>
            </a:r>
            <a:endParaRPr lang="de-DE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298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79372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504000" y="6692901"/>
            <a:ext cx="6894959" cy="9366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mtClean="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 smtClean="0"/>
              <a:t>DB Netz AG | Patrick </a:t>
            </a:r>
            <a:r>
              <a:rPr lang="de-DE" dirty="0" err="1" smtClean="0"/>
              <a:t>Breun</a:t>
            </a:r>
            <a:r>
              <a:rPr lang="de-DE" dirty="0" smtClean="0"/>
              <a:t>, Jordis Wächter | Dresden | 19.12.2017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4464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in Bild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9900000" cy="6858000"/>
          </a:xfr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0" y="4554000"/>
            <a:ext cx="9901238" cy="1368000"/>
          </a:xfrm>
          <a:solidFill>
            <a:schemeClr val="accent2"/>
          </a:solidFill>
        </p:spPr>
        <p:txBody>
          <a:bodyPr lIns="198000" tIns="180000" rIns="3600000" bIns="180000" anchor="ctr" anchorCtr="0"/>
          <a:lstStyle>
            <a:lvl1pPr>
              <a:defRPr sz="2000" b="1">
                <a:solidFill>
                  <a:schemeClr val="bg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/>
          </p:nvPr>
        </p:nvSpPr>
        <p:spPr>
          <a:xfrm>
            <a:off x="6966899" y="4284000"/>
            <a:ext cx="2520531" cy="1908000"/>
          </a:xfrm>
          <a:solidFill>
            <a:schemeClr val="bg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/>
          <a:lstStyle/>
          <a:p>
            <a:endParaRPr lang="de-DE" dirty="0"/>
          </a:p>
        </p:txBody>
      </p:sp>
      <p:sp>
        <p:nvSpPr>
          <p:cNvPr id="7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eaLnBrk="0" fontAlgn="base" hangingPunct="0">
              <a:spcAft>
                <a:spcPct val="0"/>
              </a:spcAft>
            </a:pPr>
            <a:r>
              <a:rPr lang="de-DE" dirty="0" smtClean="0">
                <a:solidFill>
                  <a:srgbClr val="000000"/>
                </a:solidFill>
              </a:rPr>
              <a:t>Hinweis:</a:t>
            </a:r>
          </a:p>
          <a:p>
            <a:pPr eaLnBrk="0" fontAlgn="base" hangingPunct="0">
              <a:spcAft>
                <a:spcPct val="0"/>
              </a:spcAft>
            </a:pPr>
            <a:r>
              <a:rPr lang="de-DE" b="0" dirty="0" smtClean="0">
                <a:solidFill>
                  <a:srgbClr val="000000"/>
                </a:solidFill>
              </a:rPr>
              <a:t>Wenn Sie ein bereits eingefügtes Bild austauschen, müssen Sie das neue Bild anschließend wieder in den Hintergrund stellen.</a:t>
            </a:r>
            <a:endParaRPr lang="de-DE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2734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Standar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ieren 11"/>
          <p:cNvGrpSpPr/>
          <p:nvPr userDrawn="1"/>
        </p:nvGrpSpPr>
        <p:grpSpPr>
          <a:xfrm>
            <a:off x="0" y="687600"/>
            <a:ext cx="9901238" cy="5766032"/>
            <a:chOff x="0" y="687600"/>
            <a:chExt cx="9901238" cy="5766032"/>
          </a:xfrm>
          <a:solidFill>
            <a:schemeClr val="accent2"/>
          </a:solidFill>
        </p:grpSpPr>
        <p:sp>
          <p:nvSpPr>
            <p:cNvPr id="14" name="Rectangle 18"/>
            <p:cNvSpPr>
              <a:spLocks noChangeArrowheads="1"/>
            </p:cNvSpPr>
            <p:nvPr/>
          </p:nvSpPr>
          <p:spPr bwMode="gray">
            <a:xfrm>
              <a:off x="1" y="687600"/>
              <a:ext cx="9901237" cy="5508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5" name="Rectangle 18"/>
            <p:cNvSpPr>
              <a:spLocks noChangeArrowheads="1"/>
            </p:cNvSpPr>
            <p:nvPr/>
          </p:nvSpPr>
          <p:spPr bwMode="gray">
            <a:xfrm>
              <a:off x="0" y="6194432"/>
              <a:ext cx="7470356" cy="2592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10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eaLnBrk="0" fontAlgn="base" hangingPunct="0">
              <a:spcAft>
                <a:spcPct val="0"/>
              </a:spcAft>
            </a:pPr>
            <a:r>
              <a:rPr lang="de-DE" dirty="0" smtClean="0">
                <a:solidFill>
                  <a:srgbClr val="000000"/>
                </a:solidFill>
              </a:rPr>
              <a:t>Hinweis:</a:t>
            </a:r>
          </a:p>
          <a:p>
            <a:pPr eaLnBrk="0" fontAlgn="base" hangingPunct="0">
              <a:spcAft>
                <a:spcPct val="0"/>
              </a:spcAft>
            </a:pPr>
            <a:r>
              <a:rPr lang="de-DE" b="0" dirty="0" smtClean="0">
                <a:solidFill>
                  <a:srgbClr val="000000"/>
                </a:solidFill>
              </a:rPr>
              <a:t>„</a:t>
            </a:r>
            <a:r>
              <a:rPr lang="de-DE" b="0" dirty="0">
                <a:solidFill>
                  <a:srgbClr val="000000"/>
                </a:solidFill>
              </a:rPr>
              <a:t>Vielen Dank für Ihre </a:t>
            </a:r>
            <a:r>
              <a:rPr lang="de-DE" b="0" dirty="0" smtClean="0">
                <a:solidFill>
                  <a:srgbClr val="000000"/>
                </a:solidFill>
              </a:rPr>
              <a:t>Aufmerksamkeit“ kann auch durch ein anderes Abschlusszitat </a:t>
            </a:r>
            <a:r>
              <a:rPr lang="de-DE" b="0" dirty="0">
                <a:solidFill>
                  <a:srgbClr val="000000"/>
                </a:solidFill>
              </a:rPr>
              <a:t>oder eine Botschaft </a:t>
            </a:r>
            <a:r>
              <a:rPr lang="de-DE" b="0" dirty="0" smtClean="0">
                <a:solidFill>
                  <a:srgbClr val="000000"/>
                </a:solidFill>
              </a:rPr>
              <a:t>ersetzt werden.</a:t>
            </a:r>
            <a:endParaRPr lang="de-DE" b="0" dirty="0">
              <a:solidFill>
                <a:srgbClr val="000000"/>
              </a:solidFill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98000" y="1370797"/>
            <a:ext cx="9504000" cy="863600"/>
          </a:xfrm>
          <a:noFill/>
        </p:spPr>
        <p:txBody>
          <a:bodyPr lIns="0" tIns="0" rIns="0" bIns="0" anchor="t" anchorCtr="0"/>
          <a:lstStyle>
            <a:lvl1pPr algn="l">
              <a:defRPr sz="2400" b="1">
                <a:solidFill>
                  <a:schemeClr val="bg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4451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-1"/>
            <a:ext cx="9900000" cy="6858000"/>
          </a:xfrm>
          <a:solidFill>
            <a:schemeClr val="tx1"/>
          </a:solidFill>
        </p:spPr>
        <p:txBody>
          <a:bodyPr lIns="180000" tIns="180000" rIns="180000" bIns="180000" anchor="ctr" anchorCtr="0"/>
          <a:lstStyle>
            <a:lvl1pPr algn="ctr">
              <a:defRPr sz="2400" b="1">
                <a:solidFill>
                  <a:schemeClr val="bg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eaLnBrk="0" fontAlgn="base" hangingPunct="0">
              <a:spcAft>
                <a:spcPct val="0"/>
              </a:spcAft>
            </a:pPr>
            <a:r>
              <a:rPr lang="de-DE" dirty="0" smtClean="0">
                <a:solidFill>
                  <a:srgbClr val="000000"/>
                </a:solidFill>
              </a:rPr>
              <a:t>Hinweis:</a:t>
            </a:r>
          </a:p>
          <a:p>
            <a:pPr eaLnBrk="0" fontAlgn="base" hangingPunct="0">
              <a:spcAft>
                <a:spcPct val="0"/>
              </a:spcAft>
            </a:pPr>
            <a:r>
              <a:rPr lang="de-DE" b="0" dirty="0" smtClean="0">
                <a:solidFill>
                  <a:srgbClr val="000000"/>
                </a:solidFill>
              </a:rPr>
              <a:t>„</a:t>
            </a:r>
            <a:r>
              <a:rPr lang="de-DE" b="0" dirty="0">
                <a:solidFill>
                  <a:srgbClr val="000000"/>
                </a:solidFill>
              </a:rPr>
              <a:t>Vielen Dank für Ihre </a:t>
            </a:r>
            <a:r>
              <a:rPr lang="de-DE" b="0" dirty="0" smtClean="0">
                <a:solidFill>
                  <a:srgbClr val="000000"/>
                </a:solidFill>
              </a:rPr>
              <a:t>Aufmerksamkeit“ kann auch durch ein anderes Abschlusszitat </a:t>
            </a:r>
            <a:r>
              <a:rPr lang="de-DE" b="0" dirty="0">
                <a:solidFill>
                  <a:srgbClr val="000000"/>
                </a:solidFill>
              </a:rPr>
              <a:t>oder eine Botschaft </a:t>
            </a:r>
            <a:r>
              <a:rPr lang="de-DE" b="0" dirty="0" smtClean="0">
                <a:solidFill>
                  <a:srgbClr val="000000"/>
                </a:solidFill>
              </a:rPr>
              <a:t>ersetzt werden.</a:t>
            </a:r>
            <a:endParaRPr lang="de-DE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6043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-1"/>
            <a:ext cx="9900000" cy="6858000"/>
          </a:xfrm>
          <a:noFill/>
        </p:spPr>
        <p:txBody>
          <a:bodyPr lIns="180000" tIns="180000" rIns="180000" bIns="180000" anchor="ctr" anchorCtr="0"/>
          <a:lstStyle>
            <a:lvl1pPr algn="ctr">
              <a:defRPr sz="2400" b="1">
                <a:solidFill>
                  <a:schemeClr val="tx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eaLnBrk="0" fontAlgn="base" hangingPunct="0">
              <a:spcAft>
                <a:spcPct val="0"/>
              </a:spcAft>
            </a:pPr>
            <a:r>
              <a:rPr lang="de-DE" dirty="0" smtClean="0">
                <a:solidFill>
                  <a:srgbClr val="000000"/>
                </a:solidFill>
              </a:rPr>
              <a:t>Hinweis:</a:t>
            </a:r>
          </a:p>
          <a:p>
            <a:pPr eaLnBrk="0" fontAlgn="base" hangingPunct="0">
              <a:spcAft>
                <a:spcPct val="0"/>
              </a:spcAft>
            </a:pPr>
            <a:r>
              <a:rPr lang="de-DE" b="0" dirty="0" smtClean="0">
                <a:solidFill>
                  <a:srgbClr val="000000"/>
                </a:solidFill>
              </a:rPr>
              <a:t>„</a:t>
            </a:r>
            <a:r>
              <a:rPr lang="de-DE" b="0" dirty="0">
                <a:solidFill>
                  <a:srgbClr val="000000"/>
                </a:solidFill>
              </a:rPr>
              <a:t>Vielen Dank für Ihre </a:t>
            </a:r>
            <a:r>
              <a:rPr lang="de-DE" b="0" dirty="0" smtClean="0">
                <a:solidFill>
                  <a:srgbClr val="000000"/>
                </a:solidFill>
              </a:rPr>
              <a:t>Aufmerksamkeit“ kann auch durch ein anderes Abschlusszitat </a:t>
            </a:r>
            <a:r>
              <a:rPr lang="de-DE" b="0" dirty="0">
                <a:solidFill>
                  <a:srgbClr val="000000"/>
                </a:solidFill>
              </a:rPr>
              <a:t>oder eine Botschaft </a:t>
            </a:r>
            <a:r>
              <a:rPr lang="de-DE" b="0" dirty="0" smtClean="0">
                <a:solidFill>
                  <a:srgbClr val="000000"/>
                </a:solidFill>
              </a:rPr>
              <a:t>ersetzt werden.</a:t>
            </a:r>
            <a:endParaRPr lang="de-DE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02095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Variante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/>
          <p:cNvGrpSpPr/>
          <p:nvPr userDrawn="1"/>
        </p:nvGrpSpPr>
        <p:grpSpPr>
          <a:xfrm>
            <a:off x="0" y="4287940"/>
            <a:ext cx="9901238" cy="2165693"/>
            <a:chOff x="0" y="4287940"/>
            <a:chExt cx="9901238" cy="2165693"/>
          </a:xfrm>
          <a:solidFill>
            <a:schemeClr val="accent2"/>
          </a:solidFill>
        </p:grpSpPr>
        <p:sp>
          <p:nvSpPr>
            <p:cNvPr id="9" name="Rectangle 18"/>
            <p:cNvSpPr>
              <a:spLocks noChangeArrowheads="1"/>
            </p:cNvSpPr>
            <p:nvPr/>
          </p:nvSpPr>
          <p:spPr bwMode="gray">
            <a:xfrm>
              <a:off x="1" y="4287940"/>
              <a:ext cx="9901237" cy="1908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0" name="Rectangle 18"/>
            <p:cNvSpPr>
              <a:spLocks noChangeArrowheads="1"/>
            </p:cNvSpPr>
            <p:nvPr/>
          </p:nvSpPr>
          <p:spPr bwMode="gray">
            <a:xfrm>
              <a:off x="0" y="6194433"/>
              <a:ext cx="7470356" cy="2592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692600"/>
            <a:ext cx="9901238" cy="3600000"/>
          </a:xfr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endParaRPr lang="de-DE"/>
          </a:p>
        </p:txBody>
      </p:sp>
      <p:sp>
        <p:nvSpPr>
          <p:cNvPr id="12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eaLnBrk="0" fontAlgn="base" hangingPunct="0">
              <a:spcAft>
                <a:spcPct val="0"/>
              </a:spcAft>
            </a:pPr>
            <a:r>
              <a:rPr lang="de-DE" dirty="0" smtClean="0">
                <a:solidFill>
                  <a:srgbClr val="000000"/>
                </a:solidFill>
              </a:rPr>
              <a:t>Hinweis:</a:t>
            </a:r>
          </a:p>
          <a:p>
            <a:pPr eaLnBrk="0" fontAlgn="base" hangingPunct="0">
              <a:spcAft>
                <a:spcPct val="0"/>
              </a:spcAft>
            </a:pPr>
            <a:r>
              <a:rPr lang="de-DE" b="0" dirty="0" smtClean="0">
                <a:solidFill>
                  <a:srgbClr val="000000"/>
                </a:solidFill>
              </a:rPr>
              <a:t>„</a:t>
            </a:r>
            <a:r>
              <a:rPr lang="de-DE" b="0" dirty="0">
                <a:solidFill>
                  <a:srgbClr val="000000"/>
                </a:solidFill>
              </a:rPr>
              <a:t>Vielen Dank für Ihre </a:t>
            </a:r>
            <a:r>
              <a:rPr lang="de-DE" b="0" dirty="0" smtClean="0">
                <a:solidFill>
                  <a:srgbClr val="000000"/>
                </a:solidFill>
              </a:rPr>
              <a:t>Aufmerksamkeit“ kann auch durch ein anderes Abschlusszitat </a:t>
            </a:r>
            <a:r>
              <a:rPr lang="de-DE" b="0" dirty="0">
                <a:solidFill>
                  <a:srgbClr val="000000"/>
                </a:solidFill>
              </a:rPr>
              <a:t>oder eine Botschaft </a:t>
            </a:r>
            <a:r>
              <a:rPr lang="de-DE" b="0" dirty="0" smtClean="0">
                <a:solidFill>
                  <a:srgbClr val="000000"/>
                </a:solidFill>
              </a:rPr>
              <a:t>ersetzt werden.</a:t>
            </a:r>
            <a:endParaRPr lang="de-DE" b="0" dirty="0">
              <a:solidFill>
                <a:srgbClr val="000000"/>
              </a:solidFill>
            </a:endParaRP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99929" y="4481796"/>
            <a:ext cx="9501380" cy="863600"/>
          </a:xfrm>
          <a:noFill/>
        </p:spPr>
        <p:txBody>
          <a:bodyPr lIns="0" tIns="0" rIns="0" bIns="0" anchor="t" anchorCtr="0"/>
          <a:lstStyle>
            <a:lvl1pPr algn="l">
              <a:defRPr sz="2400" b="1">
                <a:solidFill>
                  <a:schemeClr val="bg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3732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Variante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/>
          <p:cNvGrpSpPr/>
          <p:nvPr userDrawn="1"/>
        </p:nvGrpSpPr>
        <p:grpSpPr>
          <a:xfrm>
            <a:off x="0" y="3209885"/>
            <a:ext cx="9901238" cy="3243747"/>
            <a:chOff x="-1" y="3009120"/>
            <a:chExt cx="9906001" cy="3240280"/>
          </a:xfrm>
          <a:solidFill>
            <a:schemeClr val="accent2"/>
          </a:solidFill>
        </p:grpSpPr>
        <p:sp>
          <p:nvSpPr>
            <p:cNvPr id="9" name="Rectangle 18"/>
            <p:cNvSpPr>
              <a:spLocks noChangeArrowheads="1"/>
            </p:cNvSpPr>
            <p:nvPr/>
          </p:nvSpPr>
          <p:spPr bwMode="gray">
            <a:xfrm>
              <a:off x="0" y="3009120"/>
              <a:ext cx="9906000" cy="2982862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0" name="Rectangle 18"/>
            <p:cNvSpPr>
              <a:spLocks noChangeArrowheads="1"/>
            </p:cNvSpPr>
            <p:nvPr/>
          </p:nvSpPr>
          <p:spPr bwMode="gray">
            <a:xfrm>
              <a:off x="-1" y="5990477"/>
              <a:ext cx="7473950" cy="258923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1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692601"/>
            <a:ext cx="9901238" cy="2520862"/>
          </a:xfr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endParaRPr lang="de-DE"/>
          </a:p>
        </p:txBody>
      </p:sp>
      <p:sp>
        <p:nvSpPr>
          <p:cNvPr id="15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eaLnBrk="0" fontAlgn="base" hangingPunct="0">
              <a:spcAft>
                <a:spcPct val="0"/>
              </a:spcAft>
            </a:pPr>
            <a:r>
              <a:rPr lang="de-DE" dirty="0" smtClean="0">
                <a:solidFill>
                  <a:srgbClr val="000000"/>
                </a:solidFill>
              </a:rPr>
              <a:t>Hinweis:</a:t>
            </a:r>
          </a:p>
          <a:p>
            <a:pPr eaLnBrk="0" fontAlgn="base" hangingPunct="0">
              <a:spcAft>
                <a:spcPct val="0"/>
              </a:spcAft>
            </a:pPr>
            <a:r>
              <a:rPr lang="de-DE" b="0" dirty="0" smtClean="0">
                <a:solidFill>
                  <a:srgbClr val="000000"/>
                </a:solidFill>
              </a:rPr>
              <a:t>„</a:t>
            </a:r>
            <a:r>
              <a:rPr lang="de-DE" b="0" dirty="0">
                <a:solidFill>
                  <a:srgbClr val="000000"/>
                </a:solidFill>
              </a:rPr>
              <a:t>Vielen Dank für Ihre </a:t>
            </a:r>
            <a:r>
              <a:rPr lang="de-DE" b="0" dirty="0" smtClean="0">
                <a:solidFill>
                  <a:srgbClr val="000000"/>
                </a:solidFill>
              </a:rPr>
              <a:t>Aufmerksamkeit“ kann auch durch ein anderes Abschlusszitat </a:t>
            </a:r>
            <a:r>
              <a:rPr lang="de-DE" b="0" dirty="0">
                <a:solidFill>
                  <a:srgbClr val="000000"/>
                </a:solidFill>
              </a:rPr>
              <a:t>oder eine Botschaft </a:t>
            </a:r>
            <a:r>
              <a:rPr lang="de-DE" b="0" dirty="0" smtClean="0">
                <a:solidFill>
                  <a:srgbClr val="000000"/>
                </a:solidFill>
              </a:rPr>
              <a:t>ersetzt werden.</a:t>
            </a:r>
            <a:endParaRPr lang="de-DE" b="0" dirty="0">
              <a:solidFill>
                <a:srgbClr val="000000"/>
              </a:solidFill>
            </a:endParaRP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99929" y="3402000"/>
            <a:ext cx="9501380" cy="863600"/>
          </a:xfrm>
          <a:noFill/>
        </p:spPr>
        <p:txBody>
          <a:bodyPr lIns="0" tIns="0" rIns="0" bIns="0" anchor="t" anchorCtr="0"/>
          <a:lstStyle>
            <a:lvl1pPr algn="l">
              <a:defRPr sz="2400" b="1">
                <a:solidFill>
                  <a:schemeClr val="bg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0316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Variante 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3"/>
          <p:cNvSpPr>
            <a:spLocks noGrp="1"/>
          </p:cNvSpPr>
          <p:nvPr>
            <p:ph type="pic" sz="quarter" idx="10"/>
          </p:nvPr>
        </p:nvSpPr>
        <p:spPr bwMode="auto">
          <a:xfrm>
            <a:off x="-1" y="692600"/>
            <a:ext cx="9901238" cy="3600000"/>
          </a:xfrm>
          <a:custGeom>
            <a:avLst/>
            <a:gdLst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0 w 9901238"/>
              <a:gd name="connsiteY3" fmla="*/ 3600000 h 3600000"/>
              <a:gd name="connsiteX4" fmla="*/ 0 w 9901238"/>
              <a:gd name="connsiteY4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467601 w 9901238"/>
              <a:gd name="connsiteY3" fmla="*/ 3596371 h 3600000"/>
              <a:gd name="connsiteX4" fmla="*/ 0 w 9901238"/>
              <a:gd name="connsiteY4" fmla="*/ 3600000 h 3600000"/>
              <a:gd name="connsiteX5" fmla="*/ 0 w 9901238"/>
              <a:gd name="connsiteY5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852230 w 9901238"/>
              <a:gd name="connsiteY3" fmla="*/ 3596371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453087 w 9901238"/>
              <a:gd name="connsiteY3" fmla="*/ 3335114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7467601 w 9901238"/>
              <a:gd name="connsiteY2" fmla="*/ 3320600 h 3600000"/>
              <a:gd name="connsiteX3" fmla="*/ 7467601 w 9901238"/>
              <a:gd name="connsiteY3" fmla="*/ 3596371 h 3600000"/>
              <a:gd name="connsiteX4" fmla="*/ 0 w 9901238"/>
              <a:gd name="connsiteY4" fmla="*/ 3600000 h 3600000"/>
              <a:gd name="connsiteX5" fmla="*/ 0 w 9901238"/>
              <a:gd name="connsiteY5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8694058 w 9901238"/>
              <a:gd name="connsiteY2" fmla="*/ 1658714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898744 w 9901238"/>
              <a:gd name="connsiteY2" fmla="*/ 3335114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891487 w 9901238"/>
              <a:gd name="connsiteY2" fmla="*/ 3327857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1238" h="3600000">
                <a:moveTo>
                  <a:pt x="0" y="0"/>
                </a:moveTo>
                <a:lnTo>
                  <a:pt x="9901238" y="0"/>
                </a:lnTo>
                <a:cubicBezTo>
                  <a:pt x="9900407" y="1111705"/>
                  <a:pt x="9892318" y="2216152"/>
                  <a:pt x="9891487" y="3327857"/>
                </a:cubicBezTo>
                <a:lnTo>
                  <a:pt x="7467601" y="3320600"/>
                </a:lnTo>
                <a:lnTo>
                  <a:pt x="7467601" y="3596371"/>
                </a:lnTo>
                <a:lnTo>
                  <a:pt x="0" y="3600000"/>
                </a:lnTo>
                <a:lnTo>
                  <a:pt x="0" y="0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endParaRPr lang="de-DE"/>
          </a:p>
        </p:txBody>
      </p:sp>
      <p:sp>
        <p:nvSpPr>
          <p:cNvPr id="6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eaLnBrk="0" fontAlgn="base" hangingPunct="0">
              <a:spcAft>
                <a:spcPct val="0"/>
              </a:spcAft>
            </a:pPr>
            <a:r>
              <a:rPr lang="de-DE" dirty="0" smtClean="0">
                <a:solidFill>
                  <a:srgbClr val="000000"/>
                </a:solidFill>
              </a:rPr>
              <a:t>Hinweis:</a:t>
            </a:r>
          </a:p>
          <a:p>
            <a:pPr eaLnBrk="0" fontAlgn="base" hangingPunct="0">
              <a:spcAft>
                <a:spcPct val="0"/>
              </a:spcAft>
            </a:pPr>
            <a:r>
              <a:rPr lang="de-DE" b="0" dirty="0" smtClean="0">
                <a:solidFill>
                  <a:srgbClr val="000000"/>
                </a:solidFill>
              </a:rPr>
              <a:t>„</a:t>
            </a:r>
            <a:r>
              <a:rPr lang="de-DE" b="0" dirty="0">
                <a:solidFill>
                  <a:srgbClr val="000000"/>
                </a:solidFill>
              </a:rPr>
              <a:t>Vielen Dank für Ihre </a:t>
            </a:r>
            <a:r>
              <a:rPr lang="de-DE" b="0" dirty="0" smtClean="0">
                <a:solidFill>
                  <a:srgbClr val="000000"/>
                </a:solidFill>
              </a:rPr>
              <a:t>Aufmerksamkeit“ kann auch durch ein anderes Abschlusszitat </a:t>
            </a:r>
            <a:r>
              <a:rPr lang="de-DE" b="0" dirty="0">
                <a:solidFill>
                  <a:srgbClr val="000000"/>
                </a:solidFill>
              </a:rPr>
              <a:t>oder eine Botschaft </a:t>
            </a:r>
            <a:r>
              <a:rPr lang="de-DE" b="0" dirty="0" smtClean="0">
                <a:solidFill>
                  <a:srgbClr val="000000"/>
                </a:solidFill>
              </a:rPr>
              <a:t>ersetzt werden.</a:t>
            </a:r>
            <a:endParaRPr lang="de-DE" b="0" dirty="0">
              <a:solidFill>
                <a:srgbClr val="000000"/>
              </a:solidFill>
            </a:endParaRP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98000" y="4481796"/>
            <a:ext cx="9504000" cy="863600"/>
          </a:xfrm>
          <a:noFill/>
        </p:spPr>
        <p:txBody>
          <a:bodyPr lIns="0" tIns="0" rIns="0" bIns="0" anchor="t" anchorCtr="0"/>
          <a:lstStyle>
            <a:lvl1pPr algn="l">
              <a:defRPr sz="2400" b="1">
                <a:solidFill>
                  <a:schemeClr val="tx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20504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Variante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8"/>
          <p:cNvSpPr>
            <a:spLocks noChangeArrowheads="1"/>
          </p:cNvSpPr>
          <p:nvPr/>
        </p:nvSpPr>
        <p:spPr bwMode="gray">
          <a:xfrm>
            <a:off x="-1" y="692601"/>
            <a:ext cx="9901238" cy="540000"/>
          </a:xfrm>
          <a:custGeom>
            <a:avLst/>
            <a:gdLst/>
            <a:ahLst/>
            <a:cxnLst/>
            <a:rect l="l" t="t" r="r" b="b"/>
            <a:pathLst>
              <a:path w="9901238" h="540000">
                <a:moveTo>
                  <a:pt x="0" y="0"/>
                </a:moveTo>
                <a:lnTo>
                  <a:pt x="1" y="0"/>
                </a:lnTo>
                <a:lnTo>
                  <a:pt x="7470356" y="0"/>
                </a:lnTo>
                <a:lnTo>
                  <a:pt x="9901238" y="0"/>
                </a:lnTo>
                <a:lnTo>
                  <a:pt x="9901238" y="270000"/>
                </a:lnTo>
                <a:lnTo>
                  <a:pt x="7470356" y="270000"/>
                </a:lnTo>
                <a:lnTo>
                  <a:pt x="7470356" y="540000"/>
                </a:lnTo>
                <a:lnTo>
                  <a:pt x="0" y="540000"/>
                </a:lnTo>
                <a:close/>
              </a:path>
            </a:pathLst>
          </a:custGeom>
          <a:solidFill>
            <a:schemeClr val="accent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2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eaLnBrk="0" fontAlgn="base" hangingPunct="0">
              <a:spcAft>
                <a:spcPct val="0"/>
              </a:spcAft>
            </a:pPr>
            <a:r>
              <a:rPr lang="de-DE" dirty="0" smtClean="0">
                <a:solidFill>
                  <a:srgbClr val="000000"/>
                </a:solidFill>
              </a:rPr>
              <a:t>Hinweis:</a:t>
            </a:r>
          </a:p>
          <a:p>
            <a:pPr eaLnBrk="0" fontAlgn="base" hangingPunct="0">
              <a:spcAft>
                <a:spcPct val="0"/>
              </a:spcAft>
            </a:pPr>
            <a:r>
              <a:rPr lang="de-DE" b="0" dirty="0" smtClean="0">
                <a:solidFill>
                  <a:srgbClr val="000000"/>
                </a:solidFill>
              </a:rPr>
              <a:t>„</a:t>
            </a:r>
            <a:r>
              <a:rPr lang="de-DE" b="0" dirty="0">
                <a:solidFill>
                  <a:srgbClr val="000000"/>
                </a:solidFill>
              </a:rPr>
              <a:t>Vielen Dank für Ihre </a:t>
            </a:r>
            <a:r>
              <a:rPr lang="de-DE" b="0" dirty="0" smtClean="0">
                <a:solidFill>
                  <a:srgbClr val="000000"/>
                </a:solidFill>
              </a:rPr>
              <a:t>Aufmerksamkeit“ kann auch durch ein anderes Abschlusszitat </a:t>
            </a:r>
            <a:r>
              <a:rPr lang="de-DE" b="0" dirty="0">
                <a:solidFill>
                  <a:srgbClr val="000000"/>
                </a:solidFill>
              </a:rPr>
              <a:t>oder eine Botschaft </a:t>
            </a:r>
            <a:r>
              <a:rPr lang="de-DE" b="0" dirty="0" smtClean="0">
                <a:solidFill>
                  <a:srgbClr val="000000"/>
                </a:solidFill>
              </a:rPr>
              <a:t>ersetzt werden.</a:t>
            </a:r>
            <a:endParaRPr lang="de-DE" b="0" dirty="0">
              <a:solidFill>
                <a:srgbClr val="000000"/>
              </a:solidFill>
            </a:endParaRPr>
          </a:p>
        </p:txBody>
      </p:sp>
      <p:sp>
        <p:nvSpPr>
          <p:cNvPr id="9" name="Textplatzhalter 7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98000" y="1370797"/>
            <a:ext cx="9504000" cy="863600"/>
          </a:xfrm>
          <a:noFill/>
        </p:spPr>
        <p:txBody>
          <a:bodyPr lIns="0" tIns="0" rIns="0" bIns="0" anchor="t" anchorCtr="0"/>
          <a:lstStyle>
            <a:lvl1pPr algn="l">
              <a:defRPr sz="2400" b="1">
                <a:solidFill>
                  <a:schemeClr val="tx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53441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>
                <a:solidFill>
                  <a:srgbClr val="000000"/>
                </a:solidFill>
              </a:rPr>
              <a:t>Firma | Referent | Abteilung | 13.05.2015</a:t>
            </a:r>
            <a:endParaRPr lang="de-DE" altLang="de-DE" dirty="0">
              <a:solidFill>
                <a:srgbClr val="000000"/>
              </a:solidFill>
            </a:endParaRPr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>
                <a:solidFill>
                  <a:srgbClr val="000000"/>
                </a:solidFill>
              </a:rPr>
              <a:pPr algn="l"/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5958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 hidden="1"/>
          <p:cNvSpPr>
            <a:spLocks noGrp="1"/>
          </p:cNvSpPr>
          <p:nvPr>
            <p:ph type="ctrTitle"/>
          </p:nvPr>
        </p:nvSpPr>
        <p:spPr>
          <a:xfrm>
            <a:off x="0" y="0"/>
            <a:ext cx="36000" cy="360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 hidden="1"/>
          <p:cNvSpPr>
            <a:spLocks noGrp="1"/>
          </p:cNvSpPr>
          <p:nvPr>
            <p:ph type="subTitle" idx="1"/>
          </p:nvPr>
        </p:nvSpPr>
        <p:spPr>
          <a:xfrm>
            <a:off x="0" y="0"/>
            <a:ext cx="36000" cy="36000"/>
          </a:xfrm>
        </p:spPr>
        <p:txBody>
          <a:bodyPr/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de-DE" sz="1200" b="1" dirty="0" smtClean="0">
                <a:solidFill>
                  <a:srgbClr val="000000"/>
                </a:solidFill>
              </a:rPr>
              <a:t>Hinweis:</a:t>
            </a:r>
          </a:p>
          <a:p>
            <a:pPr eaLnBrk="0" fontAlgn="base" hangingPunct="0">
              <a:spcAft>
                <a:spcPct val="0"/>
              </a:spcAft>
            </a:pPr>
            <a:r>
              <a:rPr lang="de-DE" sz="1200" dirty="0" smtClean="0">
                <a:solidFill>
                  <a:srgbClr val="000000"/>
                </a:solidFill>
              </a:rPr>
              <a:t>Für externe Präsentationen bitte immer eine Titelfolie mit der Ressort-Farbe verwenden.</a:t>
            </a:r>
            <a:endParaRPr lang="de-DE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2182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>
                <a:solidFill>
                  <a:srgbClr val="000000"/>
                </a:solidFill>
              </a:rPr>
              <a:t>Firma | Referent | Abteilung | 13.05.2015</a:t>
            </a:r>
            <a:endParaRPr lang="de-DE" altLang="de-DE" dirty="0">
              <a:solidFill>
                <a:srgbClr val="000000"/>
              </a:solidFill>
            </a:endParaRP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>
                <a:solidFill>
                  <a:srgbClr val="000000"/>
                </a:solidFill>
              </a:rPr>
              <a:pPr algn="l"/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2560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98000" y="1270775"/>
            <a:ext cx="4680000" cy="5184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22000" y="1270775"/>
            <a:ext cx="4680000" cy="5184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4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>
                <a:solidFill>
                  <a:srgbClr val="000000"/>
                </a:solidFill>
              </a:rPr>
              <a:t>Firma | Referent | Abteilung | 13.05.2015</a:t>
            </a:r>
            <a:endParaRPr lang="de-DE" altLang="de-DE" dirty="0">
              <a:solidFill>
                <a:srgbClr val="000000"/>
              </a:solidFill>
            </a:endParaRPr>
          </a:p>
        </p:txBody>
      </p:sp>
      <p:sp>
        <p:nvSpPr>
          <p:cNvPr id="15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>
                <a:solidFill>
                  <a:srgbClr val="000000"/>
                </a:solidFill>
              </a:rPr>
              <a:pPr algn="l"/>
              <a:t>‹Nr.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3916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links / 2 Inhalte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>
                <a:solidFill>
                  <a:srgbClr val="000000"/>
                </a:solidFill>
              </a:rPr>
              <a:t>Firma | Referent | Abteilung | 13.05.2015</a:t>
            </a:r>
            <a:endParaRPr lang="de-DE" altLang="de-DE" dirty="0">
              <a:solidFill>
                <a:srgbClr val="000000"/>
              </a:solidFill>
            </a:endParaRPr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>
                <a:solidFill>
                  <a:srgbClr val="000000"/>
                </a:solidFill>
              </a:rPr>
              <a:pPr algn="l"/>
              <a:t>‹Nr.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198000" y="1270775"/>
            <a:ext cx="4680000" cy="5184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5021999" y="1270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5021999" y="3934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5878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links / Inhal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>
                <a:solidFill>
                  <a:srgbClr val="000000"/>
                </a:solidFill>
              </a:rPr>
              <a:t>Firma | Referent | Abteilung | 13.05.2015</a:t>
            </a:r>
            <a:endParaRPr lang="de-DE" altLang="de-DE" dirty="0">
              <a:solidFill>
                <a:srgbClr val="000000"/>
              </a:solidFill>
            </a:endParaRPr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>
                <a:solidFill>
                  <a:srgbClr val="000000"/>
                </a:solidFill>
              </a:rPr>
              <a:pPr algn="l"/>
              <a:t>‹Nr.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197999" y="1270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1"/>
          </p:nvPr>
        </p:nvSpPr>
        <p:spPr>
          <a:xfrm>
            <a:off x="197999" y="3934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2"/>
          </p:nvPr>
        </p:nvSpPr>
        <p:spPr>
          <a:xfrm>
            <a:off x="5021999" y="1270775"/>
            <a:ext cx="4680000" cy="5184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0849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>
                <a:solidFill>
                  <a:srgbClr val="000000"/>
                </a:solidFill>
              </a:rPr>
              <a:t>Firma | Referent | Abteilung | 13.05.2015</a:t>
            </a:r>
            <a:endParaRPr lang="de-DE" altLang="de-DE" dirty="0">
              <a:solidFill>
                <a:srgbClr val="000000"/>
              </a:solidFill>
            </a:endParaRPr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>
                <a:solidFill>
                  <a:srgbClr val="000000"/>
                </a:solidFill>
              </a:rPr>
              <a:pPr algn="l"/>
              <a:t>‹Nr.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197999" y="1270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197999" y="3934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5021999" y="1270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3"/>
          </p:nvPr>
        </p:nvSpPr>
        <p:spPr>
          <a:xfrm>
            <a:off x="5021999" y="3934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0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image" Target="../media/image3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2.png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6.xml"/><Relationship Id="rId21" Type="http://schemas.openxmlformats.org/officeDocument/2006/relationships/slideLayout" Target="../slideLayouts/slideLayout24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3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24" Type="http://schemas.openxmlformats.org/officeDocument/2006/relationships/slideLayout" Target="../slideLayouts/slideLayout27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slideLayout" Target="../slideLayouts/slideLayout25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98000" y="403200"/>
            <a:ext cx="9504000" cy="79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1188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Klicken Sie, um das Titelformat zu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8000" y="1557338"/>
            <a:ext cx="9504000" cy="4897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Klicken Sie, um die Formate des Vorlagentextes zu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22147698"/>
              </p:ext>
            </p:extLst>
          </p:nvPr>
        </p:nvGraphicFramePr>
        <p:xfrm>
          <a:off x="0" y="0"/>
          <a:ext cx="15867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8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67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 smtClean="0"/>
              <a:t>DB Netz AG | Patrick </a:t>
            </a:r>
            <a:r>
              <a:rPr lang="de-DE" dirty="0" err="1" smtClean="0"/>
              <a:t>Breun</a:t>
            </a:r>
            <a:r>
              <a:rPr lang="de-DE" dirty="0" smtClean="0"/>
              <a:t>, Jordis Wächter | Dresden | 19.12.2017</a:t>
            </a:r>
            <a:endParaRPr lang="de-DE" dirty="0"/>
          </a:p>
        </p:txBody>
      </p:sp>
      <p:pic>
        <p:nvPicPr>
          <p:cNvPr id="9" name="Picture 60" descr="DB-NETZE_rgb_M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48" t="-66" r="82" b="-289"/>
          <a:stretch/>
        </p:blipFill>
        <p:spPr bwMode="auto">
          <a:xfrm>
            <a:off x="8135109" y="188550"/>
            <a:ext cx="1567691" cy="37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3" descr="D:\Users\mathiasmrichter\AppData\Local\Temp\wz10aa\DB_rgb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871" y="188550"/>
            <a:ext cx="536826" cy="376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92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altLang="de-DE" sz="2400" b="0" dirty="0">
          <a:solidFill>
            <a:schemeClr val="tx2"/>
          </a:solidFill>
          <a:latin typeface="DB Office" panose="020B060402020202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ct val="0"/>
        </a:spcAft>
        <a:defRPr lang="de-DE" altLang="de-DE" sz="1600" dirty="0">
          <a:solidFill>
            <a:schemeClr val="tx1"/>
          </a:solidFill>
          <a:latin typeface="DB Office" panose="020B0604020202020204" pitchFamily="34" charset="0"/>
          <a:ea typeface="+mn-ea"/>
          <a:cs typeface="+mn-cs"/>
        </a:defRPr>
      </a:lvl1pPr>
      <a:lvl2pPr marL="180000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SzPct val="85000"/>
        <a:buFont typeface="Wingdings" pitchFamily="2" charset="2"/>
        <a:buChar char="n"/>
        <a:defRPr lang="de-DE" altLang="de-DE" sz="1600" dirty="0">
          <a:solidFill>
            <a:schemeClr val="tx1"/>
          </a:solidFill>
          <a:latin typeface="DB Office" panose="020B0604020202020204" pitchFamily="34" charset="0"/>
        </a:defRPr>
      </a:lvl2pPr>
      <a:lvl3pPr marL="358775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lang="de-DE" altLang="de-DE" sz="1600" dirty="0">
          <a:solidFill>
            <a:schemeClr val="tx1"/>
          </a:solidFill>
          <a:latin typeface="DB Office" panose="020B0604020202020204" pitchFamily="34" charset="0"/>
        </a:defRPr>
      </a:lvl3pPr>
      <a:lvl4pPr marL="540000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Font typeface="Wingdings" pitchFamily="2" charset="2"/>
        <a:buChar char="§"/>
        <a:defRPr lang="de-DE" altLang="de-DE" sz="1600" dirty="0">
          <a:solidFill>
            <a:schemeClr val="tx1"/>
          </a:solidFill>
          <a:latin typeface="DB Office" panose="020B0604020202020204" pitchFamily="34" charset="0"/>
        </a:defRPr>
      </a:lvl4pPr>
      <a:lvl5pPr marL="720000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lang="de-DE" altLang="de-DE" sz="1600" dirty="0">
          <a:solidFill>
            <a:schemeClr val="tx1"/>
          </a:solidFill>
          <a:latin typeface="DB Office" panose="020B0604020202020204" pitchFamily="34" charset="0"/>
        </a:defRPr>
      </a:lvl5pPr>
      <a:lvl6pPr marL="11858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6pPr>
      <a:lvl7pPr marL="16430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7pPr>
      <a:lvl8pPr marL="21002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8pPr>
      <a:lvl9pPr marL="25574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98000" y="403200"/>
            <a:ext cx="9504000" cy="79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223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 smtClean="0"/>
              <a:t>Klicken Sie, um das Titelformat zu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8000" y="1270775"/>
            <a:ext cx="9504000" cy="51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 smtClean="0"/>
              <a:t>Klicken Sie, um die Formate des Vorlagentextes zu bearbeiten</a:t>
            </a:r>
          </a:p>
          <a:p>
            <a:pPr lvl="1"/>
            <a:r>
              <a:rPr lang="de-DE" altLang="de-DE" dirty="0" smtClean="0"/>
              <a:t>Zweite Ebene</a:t>
            </a:r>
          </a:p>
          <a:p>
            <a:pPr lvl="2"/>
            <a:r>
              <a:rPr lang="de-DE" altLang="de-DE" dirty="0" smtClean="0"/>
              <a:t>Dritte Ebene</a:t>
            </a:r>
          </a:p>
          <a:p>
            <a:pPr lvl="3"/>
            <a:r>
              <a:rPr lang="de-DE" altLang="de-DE" dirty="0" smtClean="0"/>
              <a:t>Vierte Ebene</a:t>
            </a:r>
          </a:p>
          <a:p>
            <a:pPr lvl="4"/>
            <a:r>
              <a:rPr lang="de-DE" altLang="de-DE" dirty="0" smtClean="0"/>
              <a:t>Fünfte Ebene</a:t>
            </a:r>
          </a:p>
        </p:txBody>
      </p:sp>
      <p:sp>
        <p:nvSpPr>
          <p:cNvPr id="309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mtClean="0">
                <a:solidFill>
                  <a:srgbClr val="000000"/>
                </a:solidFill>
              </a:rPr>
              <a:t>Firma | Referent | Abteilung | 13.05.2015</a:t>
            </a:r>
            <a:endParaRPr lang="de-DE" altLang="de-DE" dirty="0">
              <a:solidFill>
                <a:srgbClr val="000000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2C6F6EA-6ADD-43B6-963C-85EF970B7263}" type="slidenum">
              <a:rPr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dirty="0">
              <a:solidFill>
                <a:srgbClr val="000000"/>
              </a:solidFill>
            </a:endParaRPr>
          </a:p>
        </p:txBody>
      </p:sp>
      <p:pic>
        <p:nvPicPr>
          <p:cNvPr id="9" name="Picture 60" descr="DB-NETZE_rgb_M"/>
          <p:cNvPicPr>
            <a:picLocks noChangeAspect="1" noChangeArrowheads="1"/>
          </p:cNvPicPr>
          <p:nvPr userDrawn="1">
            <p:custDataLst>
              <p:tags r:id="rId26"/>
            </p:custDataLst>
          </p:nvPr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48" t="-66" r="82" b="-289"/>
          <a:stretch/>
        </p:blipFill>
        <p:spPr bwMode="auto">
          <a:xfrm>
            <a:off x="8135109" y="188550"/>
            <a:ext cx="1567691" cy="37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827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  <p:sldLayoutId id="2147483683" r:id="rId16"/>
    <p:sldLayoutId id="2147483684" r:id="rId17"/>
    <p:sldLayoutId id="2147483685" r:id="rId18"/>
    <p:sldLayoutId id="2147483686" r:id="rId19"/>
    <p:sldLayoutId id="2147483687" r:id="rId20"/>
    <p:sldLayoutId id="2147483688" r:id="rId21"/>
    <p:sldLayoutId id="2147483689" r:id="rId22"/>
    <p:sldLayoutId id="2147483690" r:id="rId23"/>
    <p:sldLayoutId id="2147483691" r:id="rId2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0">
          <a:solidFill>
            <a:schemeClr val="tx2"/>
          </a:solidFill>
          <a:latin typeface="DB Office" panose="020B060402020202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9pPr>
    </p:titleStyle>
    <p:bodyStyle>
      <a:lvl1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DB Office" panose="020B0604020202020204" pitchFamily="34" charset="0"/>
          <a:ea typeface="+mn-ea"/>
          <a:cs typeface="+mn-cs"/>
        </a:defRPr>
      </a:lvl1pPr>
      <a:lvl2pPr marL="180000" indent="-1800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SzPct val="85000"/>
        <a:buFont typeface="Wingdings" pitchFamily="2" charset="2"/>
        <a:buChar char="n"/>
        <a:defRPr sz="1600">
          <a:solidFill>
            <a:schemeClr val="tx1"/>
          </a:solidFill>
          <a:latin typeface="DB Office" panose="020B0604020202020204" pitchFamily="34" charset="0"/>
        </a:defRPr>
      </a:lvl2pPr>
      <a:lvl3pPr marL="358775" indent="-1800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DB Office" panose="020B0604020202020204" pitchFamily="34" charset="0"/>
        </a:defRPr>
      </a:lvl3pPr>
      <a:lvl4pPr marL="540000" indent="-1800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Font typeface="Wingdings" pitchFamily="2" charset="2"/>
        <a:buChar char="§"/>
        <a:defRPr sz="1600">
          <a:solidFill>
            <a:schemeClr val="tx1"/>
          </a:solidFill>
          <a:latin typeface="DB Office" panose="020B0604020202020204" pitchFamily="34" charset="0"/>
        </a:defRPr>
      </a:lvl4pPr>
      <a:lvl5pPr marL="720000" indent="-1800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DB Office" panose="020B0604020202020204" pitchFamily="34" charset="0"/>
        </a:defRPr>
      </a:lvl5pPr>
      <a:lvl6pPr marL="1185863" indent="-182563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6pPr>
      <a:lvl7pPr marL="1643063" indent="-182563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7pPr>
      <a:lvl8pPr marL="2100263" indent="-182563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8pPr>
      <a:lvl9pPr marL="2557463" indent="-182563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6.emf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44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43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2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38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chart" Target="../charts/chart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4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4" Type="http://schemas.openxmlformats.org/officeDocument/2006/relationships/tags" Target="../tags/tag4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0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0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00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image" Target="../media/image400.png"/><Relationship Id="rId7" Type="http://schemas.openxmlformats.org/officeDocument/2006/relationships/image" Target="../media/image80.png"/><Relationship Id="rId2" Type="http://schemas.openxmlformats.org/officeDocument/2006/relationships/image" Target="../media/image30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0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3" Type="http://schemas.openxmlformats.org/officeDocument/2006/relationships/image" Target="../media/image400.png"/><Relationship Id="rId2" Type="http://schemas.openxmlformats.org/officeDocument/2006/relationships/image" Target="../media/image300.png"/><Relationship Id="rId1" Type="http://schemas.openxmlformats.org/officeDocument/2006/relationships/slideLayout" Target="../slideLayouts/slideLayout11.xml"/><Relationship Id="rId11" Type="http://schemas.openxmlformats.org/officeDocument/2006/relationships/image" Target="../media/image111.png"/><Relationship Id="rId5" Type="http://schemas.openxmlformats.org/officeDocument/2006/relationships/image" Target="../media/image6.png"/><Relationship Id="rId10" Type="http://schemas.openxmlformats.org/officeDocument/2006/relationships/image" Target="../media/image100.png"/><Relationship Id="rId4" Type="http://schemas.openxmlformats.org/officeDocument/2006/relationships/image" Target="../media/image5.png"/><Relationship Id="rId9" Type="http://schemas.openxmlformats.org/officeDocument/2006/relationships/image" Target="../media/image1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20.png"/><Relationship Id="rId7" Type="http://schemas.openxmlformats.org/officeDocument/2006/relationships/tags" Target="../tags/tag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15.xml"/><Relationship Id="rId7" Type="http://schemas.openxmlformats.org/officeDocument/2006/relationships/image" Target="../media/image25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10" Type="http://schemas.openxmlformats.org/officeDocument/2006/relationships/image" Target="../media/image27.png"/><Relationship Id="rId4" Type="http://schemas.openxmlformats.org/officeDocument/2006/relationships/slideLayout" Target="../slideLayouts/slideLayout2.xml"/><Relationship Id="rId9" Type="http://schemas.openxmlformats.org/officeDocument/2006/relationships/tags" Target="../tags/tag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29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18.xml"/><Relationship Id="rId5" Type="http://schemas.openxmlformats.org/officeDocument/2006/relationships/image" Target="../media/image28.png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6.png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38.png"/><Relationship Id="rId5" Type="http://schemas.openxmlformats.org/officeDocument/2006/relationships/tags" Target="../tags/tag19.xml"/><Relationship Id="rId10" Type="http://schemas.openxmlformats.org/officeDocument/2006/relationships/image" Target="../media/image42.png"/><Relationship Id="rId4" Type="http://schemas.openxmlformats.org/officeDocument/2006/relationships/image" Target="../media/image37.png"/><Relationship Id="rId9" Type="http://schemas.openxmlformats.org/officeDocument/2006/relationships/image" Target="../media/image4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599318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legung Gesamtjahr – SAT Modell		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Ablauf nach Workshop mit </a:t>
            </a:r>
            <a:r>
              <a:rPr lang="de-DE" dirty="0" err="1" smtClean="0"/>
              <a:t>Synoptics</a:t>
            </a:r>
            <a:r>
              <a:rPr lang="de-DE" dirty="0" smtClean="0"/>
              <a:t> vom 18.12.2017 in Dresden</a:t>
            </a:r>
            <a:endParaRPr lang="de-DE" dirty="0"/>
          </a:p>
        </p:txBody>
      </p:sp>
      <p:sp>
        <p:nvSpPr>
          <p:cNvPr id="14" name="TW_FOOTER"/>
          <p:cNvSpPr txBox="1">
            <a:spLocks noChangeArrowheads="1"/>
          </p:cNvSpPr>
          <p:nvPr/>
        </p:nvSpPr>
        <p:spPr bwMode="auto">
          <a:xfrm>
            <a:off x="197999" y="5949350"/>
            <a:ext cx="9503309" cy="2378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9pPr>
          </a:lstStyle>
          <a:p>
            <a:r>
              <a:rPr lang="de-DE" altLang="de-DE" sz="1200" b="1" dirty="0" smtClean="0"/>
              <a:t>DB Netz AG | Patrick </a:t>
            </a:r>
            <a:r>
              <a:rPr lang="de-DE" altLang="de-DE" sz="1200" b="1" dirty="0" err="1" smtClean="0"/>
              <a:t>Breun</a:t>
            </a:r>
            <a:r>
              <a:rPr lang="de-DE" altLang="de-DE" sz="1200" b="1" dirty="0"/>
              <a:t>,</a:t>
            </a:r>
            <a:r>
              <a:rPr lang="de-DE" altLang="de-DE" sz="1200" b="1" dirty="0" smtClean="0"/>
              <a:t> Jordis Wächter | Dresden | 19.12.2017</a:t>
            </a:r>
            <a:endParaRPr lang="de-DE" altLang="de-DE" sz="1200" b="1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79677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blauf SAT-Modell in der ganzjährigen Belegung (8/X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Patrick Breun, Jordis Wächter | Dresden | 19.12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70099" y="2773281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err="1" smtClean="0">
                <a:latin typeface="DB Office" pitchFamily="34" charset="0"/>
              </a:rPr>
              <a:t>MaxSAT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15" name="Gerade Verbindung mit Pfeil 14"/>
          <p:cNvCxnSpPr>
            <a:stCxn id="30" idx="2"/>
          </p:cNvCxnSpPr>
          <p:nvPr/>
        </p:nvCxnSpPr>
        <p:spPr bwMode="auto">
          <a:xfrm>
            <a:off x="1674255" y="4012711"/>
            <a:ext cx="0" cy="186456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mit Pfeil 20"/>
          <p:cNvCxnSpPr>
            <a:stCxn id="20" idx="2"/>
            <a:endCxn id="12" idx="0"/>
          </p:cNvCxnSpPr>
          <p:nvPr/>
        </p:nvCxnSpPr>
        <p:spPr bwMode="auto">
          <a:xfrm>
            <a:off x="1674255" y="2456892"/>
            <a:ext cx="0" cy="31638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" name="ElementText1"/>
          <p:cNvSpPr txBox="1">
            <a:spLocks/>
          </p:cNvSpPr>
          <p:nvPr/>
        </p:nvSpPr>
        <p:spPr bwMode="gray">
          <a:xfrm>
            <a:off x="270099" y="4149081"/>
            <a:ext cx="2808312" cy="288031"/>
          </a:xfrm>
          <a:prstGeom prst="rect">
            <a:avLst/>
          </a:prstGeom>
          <a:solidFill>
            <a:srgbClr val="FFFFFF"/>
          </a:solidFill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300"/>
              </a:spcBef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Lösbarkeit erneut prüfen</a:t>
            </a:r>
            <a:endParaRPr lang="de-DE" sz="1200" dirty="0">
              <a:solidFill>
                <a:srgbClr val="000000"/>
              </a:solidFill>
              <a:latin typeface="DB Office"/>
            </a:endParaRPr>
          </a:p>
        </p:txBody>
      </p:sp>
      <p:sp>
        <p:nvSpPr>
          <p:cNvPr id="20" name="Raute 19"/>
          <p:cNvSpPr/>
          <p:nvPr/>
        </p:nvSpPr>
        <p:spPr bwMode="auto">
          <a:xfrm>
            <a:off x="198091" y="1952836"/>
            <a:ext cx="2952328" cy="504056"/>
          </a:xfrm>
          <a:prstGeom prst="diamond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Neue Partition oder neue Systemtrassen?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22" name="Gerade Verbindung mit Pfeil 21"/>
          <p:cNvCxnSpPr>
            <a:endCxn id="20" idx="0"/>
          </p:cNvCxnSpPr>
          <p:nvPr/>
        </p:nvCxnSpPr>
        <p:spPr bwMode="auto">
          <a:xfrm>
            <a:off x="1674255" y="1628800"/>
            <a:ext cx="0" cy="32403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Textfeld 22"/>
          <p:cNvSpPr txBox="1"/>
          <p:nvPr/>
        </p:nvSpPr>
        <p:spPr>
          <a:xfrm>
            <a:off x="1705782" y="2508939"/>
            <a:ext cx="28854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nein</a:t>
            </a:r>
          </a:p>
        </p:txBody>
      </p:sp>
      <p:sp>
        <p:nvSpPr>
          <p:cNvPr id="30" name="Abgerundetes Rechteck 29"/>
          <p:cNvSpPr/>
          <p:nvPr/>
        </p:nvSpPr>
        <p:spPr bwMode="auto">
          <a:xfrm>
            <a:off x="270099" y="3573016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SAT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26" name="Gewinkelte Verbindung 25"/>
          <p:cNvCxnSpPr>
            <a:stCxn id="20" idx="3"/>
            <a:endCxn id="30" idx="3"/>
          </p:cNvCxnSpPr>
          <p:nvPr/>
        </p:nvCxnSpPr>
        <p:spPr bwMode="auto">
          <a:xfrm flipH="1">
            <a:off x="3078411" y="2204864"/>
            <a:ext cx="72008" cy="1588000"/>
          </a:xfrm>
          <a:prstGeom prst="bentConnector3">
            <a:avLst>
              <a:gd name="adj1" fmla="val -158732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Textfeld 33"/>
          <p:cNvSpPr txBox="1"/>
          <p:nvPr/>
        </p:nvSpPr>
        <p:spPr>
          <a:xfrm>
            <a:off x="3103805" y="2324273"/>
            <a:ext cx="11862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ja</a:t>
            </a:r>
          </a:p>
        </p:txBody>
      </p:sp>
      <p:sp>
        <p:nvSpPr>
          <p:cNvPr id="37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654475" y="2084196"/>
            <a:ext cx="4464496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300"/>
              </a:spcBef>
            </a:pPr>
            <a:r>
              <a:rPr lang="de-DE" sz="1200" dirty="0" smtClean="0"/>
              <a:t>Fall 1: Neuer Weg, Fall 2: Neuer Weg + neue Partition </a:t>
            </a:r>
          </a:p>
        </p:txBody>
      </p:sp>
      <p:sp>
        <p:nvSpPr>
          <p:cNvPr id="38" name="ElementText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54475" y="2878196"/>
            <a:ext cx="4464496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300"/>
              </a:spcBef>
            </a:pPr>
            <a:r>
              <a:rPr lang="de-DE" sz="1200" dirty="0" smtClean="0"/>
              <a:t>entfäll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39" name="Tabelle 38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013468739"/>
                  </p:ext>
                </p:extLst>
              </p:nvPr>
            </p:nvGraphicFramePr>
            <p:xfrm>
              <a:off x="4026406" y="3879322"/>
              <a:ext cx="5604733" cy="851335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1650206"/>
                    <a:gridCol w="1650206"/>
                    <a:gridCol w="2304321"/>
                  </a:tblGrid>
                  <a:tr h="286666">
                    <a:tc>
                      <a:txBody>
                        <a:bodyPr/>
                        <a:lstStyle/>
                        <a:p>
                          <a:r>
                            <a:rPr lang="de-DE" sz="1200" dirty="0" smtClean="0"/>
                            <a:t>Anfrage</a:t>
                          </a:r>
                          <a:endParaRPr lang="de-DE" sz="12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dirty="0" smtClean="0"/>
                            <a:t>belegte</a:t>
                          </a:r>
                          <a:r>
                            <a:rPr lang="de-DE" sz="1200" baseline="0" dirty="0" smtClean="0"/>
                            <a:t> </a:t>
                          </a:r>
                          <a:r>
                            <a:rPr lang="de-DE" sz="1200" dirty="0" smtClean="0"/>
                            <a:t>Partition</a:t>
                          </a:r>
                          <a:endParaRPr lang="de-DE" sz="12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dirty="0" smtClean="0"/>
                            <a:t>Pfa</a:t>
                          </a:r>
                          <a:r>
                            <a:rPr lang="de-DE" sz="1200" baseline="0" dirty="0" smtClean="0"/>
                            <a:t>d der Fahrlagenvarianten</a:t>
                          </a:r>
                          <a:endParaRPr lang="de-DE" sz="1200" dirty="0"/>
                        </a:p>
                      </a:txBody>
                      <a:tcPr/>
                    </a:tc>
                  </a:tr>
                  <a:tr h="286666">
                    <a:tc>
                      <a:txBody>
                        <a:bodyPr/>
                        <a:lstStyle/>
                        <a:p>
                          <a:r>
                            <a:rPr lang="de-DE" sz="1200" dirty="0" smtClean="0"/>
                            <a:t>r1</a:t>
                          </a:r>
                          <a:endParaRPr lang="de-DE" sz="12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smtClean="0">
                                        <a:latin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>
                                        <a:latin typeface="Cambria Math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lang="de-DE" sz="1200">
                                        <a:latin typeface="Cambria Math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lang="de-DE" sz="1200">
                                        <a:latin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smtClean="0">
                                        <a:latin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de-DE" sz="1200">
                                        <a:latin typeface="Cambria Math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lang="de-DE" sz="1200">
                                        <a:latin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d>
                                  <m:dPr>
                                    <m:ctrlPr>
                                      <a:rPr lang="de-DE" sz="1200" i="1" smtClean="0"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1</m:t>
                                    </m:r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,</m:t>
                                    </m:r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1</m:t>
                                    </m:r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,</m:t>
                                    </m:r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0</m:t>
                                    </m:r>
                                  </m:e>
                                </m:d>
                                <m:r>
                                  <a:rPr lang="de-DE" sz="1200" smtClean="0">
                                    <a:latin typeface="Cambria Math"/>
                                  </a:rPr>
                                  <m:t>: </m:t>
                                </m:r>
                                <m:sSub>
                                  <m:sSubPr>
                                    <m:ctrlPr>
                                      <a:rPr lang="de-DE" sz="1200" i="1" smtClean="0">
                                        <a:latin typeface="Cambria Math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2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200" dirty="0"/>
                        </a:p>
                      </a:txBody>
                      <a:tcPr/>
                    </a:tc>
                  </a:tr>
                  <a:tr h="262018">
                    <a:tc>
                      <a:txBody>
                        <a:bodyPr/>
                        <a:lstStyle/>
                        <a:p>
                          <a:r>
                            <a:rPr lang="de-DE" sz="1200" dirty="0" smtClean="0"/>
                            <a:t>r2</a:t>
                          </a:r>
                          <a:endParaRPr lang="de-DE" sz="12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smtClean="0">
                                        <a:latin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>
                                        <a:latin typeface="Cambria Math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lang="de-DE" sz="1200">
                                        <a:latin typeface="Cambria Math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smtClean="0">
                                        <a:latin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de-DE" sz="1200">
                                        <a:latin typeface="Cambria Math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lang="de-DE" sz="1200">
                                        <a:latin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d>
                                  <m:dPr>
                                    <m:ctrlPr>
                                      <a:rPr lang="de-DE" sz="1200" i="1" smtClean="0"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0</m:t>
                                    </m:r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,</m:t>
                                    </m:r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1</m:t>
                                    </m:r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,</m:t>
                                    </m:r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1</m:t>
                                    </m:r>
                                  </m:e>
                                </m:d>
                                <m:r>
                                  <a:rPr lang="de-DE" sz="1200" smtClean="0">
                                    <a:latin typeface="Cambria Math"/>
                                  </a:rPr>
                                  <m:t>: </m:t>
                                </m:r>
                                <m:sSub>
                                  <m:sSubPr>
                                    <m:ctrlPr>
                                      <a:rPr lang="de-DE" sz="1200" i="1" smtClean="0">
                                        <a:latin typeface="Cambria Math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1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200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39" name="Tabelle 38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013468739"/>
                  </p:ext>
                </p:extLst>
              </p:nvPr>
            </p:nvGraphicFramePr>
            <p:xfrm>
              <a:off x="4026406" y="3879322"/>
              <a:ext cx="5604733" cy="889282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1650206"/>
                    <a:gridCol w="1650206"/>
                    <a:gridCol w="2304321"/>
                  </a:tblGrid>
                  <a:tr h="286666">
                    <a:tc>
                      <a:txBody>
                        <a:bodyPr/>
                        <a:lstStyle/>
                        <a:p>
                          <a:r>
                            <a:rPr lang="de-DE" sz="1200" dirty="0" smtClean="0"/>
                            <a:t>Anfrage</a:t>
                          </a:r>
                          <a:endParaRPr lang="de-DE" sz="12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dirty="0" smtClean="0"/>
                            <a:t>belegte</a:t>
                          </a:r>
                          <a:r>
                            <a:rPr lang="de-DE" sz="1200" baseline="0" dirty="0" smtClean="0"/>
                            <a:t> </a:t>
                          </a:r>
                          <a:r>
                            <a:rPr lang="de-DE" sz="1200" dirty="0" smtClean="0"/>
                            <a:t>Partition</a:t>
                          </a:r>
                          <a:endParaRPr lang="de-DE" sz="12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dirty="0" smtClean="0"/>
                            <a:t>Pfa</a:t>
                          </a:r>
                          <a:r>
                            <a:rPr lang="de-DE" sz="1200" baseline="0" dirty="0" smtClean="0"/>
                            <a:t>d der Fahrlagenvarianten</a:t>
                          </a:r>
                          <a:endParaRPr lang="de-DE" sz="1200" dirty="0"/>
                        </a:p>
                      </a:txBody>
                      <a:tcPr/>
                    </a:tc>
                  </a:tr>
                  <a:tr h="301308">
                    <a:tc>
                      <a:txBody>
                        <a:bodyPr/>
                        <a:lstStyle/>
                        <a:p>
                          <a:r>
                            <a:rPr lang="de-DE" sz="1200" dirty="0" smtClean="0"/>
                            <a:t>r1</a:t>
                          </a:r>
                          <a:endParaRPr lang="de-DE" sz="12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100000" t="-96000" r="-139483" b="-104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143386" t="-96000" b="-104000"/>
                          </a:stretch>
                        </a:blipFill>
                      </a:tcPr>
                    </a:tc>
                  </a:tr>
                  <a:tr h="301308">
                    <a:tc>
                      <a:txBody>
                        <a:bodyPr/>
                        <a:lstStyle/>
                        <a:p>
                          <a:r>
                            <a:rPr lang="de-DE" sz="1200" dirty="0" smtClean="0"/>
                            <a:t>r2</a:t>
                          </a:r>
                          <a:endParaRPr lang="de-DE" sz="12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100000" t="-200000" r="-139483" b="-612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143386" t="-200000" b="-6122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0" name="Tabelle 39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116580614"/>
                  </p:ext>
                </p:extLst>
              </p:nvPr>
            </p:nvGraphicFramePr>
            <p:xfrm>
              <a:off x="4026406" y="5301208"/>
              <a:ext cx="5604733" cy="1013460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1650206"/>
                    <a:gridCol w="1650206"/>
                    <a:gridCol w="2304321"/>
                  </a:tblGrid>
                  <a:tr h="263293">
                    <a:tc>
                      <a:txBody>
                        <a:bodyPr/>
                        <a:lstStyle/>
                        <a:p>
                          <a:r>
                            <a:rPr lang="de-DE" sz="1200" dirty="0" smtClean="0"/>
                            <a:t>Anfrage</a:t>
                          </a:r>
                          <a:endParaRPr lang="de-DE" sz="12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dirty="0" smtClean="0"/>
                            <a:t>belegte Partition</a:t>
                          </a:r>
                          <a:endParaRPr lang="de-DE" sz="12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dirty="0" smtClean="0"/>
                            <a:t>Pfa</a:t>
                          </a:r>
                          <a:r>
                            <a:rPr lang="de-DE" sz="1200" baseline="0" dirty="0" smtClean="0"/>
                            <a:t>d der Fahrlagenvarianten</a:t>
                          </a:r>
                          <a:endParaRPr lang="de-DE" sz="1200" dirty="0"/>
                        </a:p>
                      </a:txBody>
                      <a:tcPr/>
                    </a:tc>
                  </a:tr>
                  <a:tr h="425448">
                    <a:tc>
                      <a:txBody>
                        <a:bodyPr/>
                        <a:lstStyle/>
                        <a:p>
                          <a:r>
                            <a:rPr lang="de-DE" sz="1200" dirty="0" smtClean="0"/>
                            <a:t>r1</a:t>
                          </a:r>
                          <a:endParaRPr lang="de-DE" sz="12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smtClean="0">
                                        <a:latin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>
                                        <a:latin typeface="Cambria Math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>
                                        <a:latin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smtClean="0">
                                        <a:latin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>
                                        <a:latin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d>
                                  <m:dPr>
                                    <m:ctrlPr>
                                      <a:rPr lang="de-DE" sz="1200" i="1" smtClean="0"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1</m:t>
                                    </m:r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,</m:t>
                                    </m:r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0</m:t>
                                    </m:r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,</m:t>
                                    </m:r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0</m:t>
                                    </m:r>
                                  </m:e>
                                </m:d>
                                <m:r>
                                  <a:rPr lang="de-DE" sz="1200" smtClean="0">
                                    <a:latin typeface="Cambria Math"/>
                                  </a:rPr>
                                  <m:t>:</m:t>
                                </m:r>
                                <m:r>
                                  <a:rPr lang="de-DE" sz="1200" smtClean="0">
                                    <a:latin typeface="Cambria Math"/>
                                  </a:rPr>
                                  <m:t> </m:t>
                                </m:r>
                                <m:sSub>
                                  <m:sSubPr>
                                    <m:ctrlPr>
                                      <a:rPr lang="de-DE" sz="1200" i="1" smtClean="0">
                                        <a:latin typeface="Cambria Math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1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200" dirty="0" smtClean="0"/>
                        </a:p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smtClean="0">
                                        <a:latin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>
                                        <a:latin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d>
                                  <m:dPr>
                                    <m:ctrlPr>
                                      <a:rPr lang="de-DE" sz="1200" i="1" smtClean="0"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0</m:t>
                                    </m:r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,</m:t>
                                    </m:r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1</m:t>
                                    </m:r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,</m:t>
                                    </m:r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0</m:t>
                                    </m:r>
                                  </m:e>
                                </m:d>
                                <m:r>
                                  <a:rPr lang="de-DE" sz="1200" smtClean="0">
                                    <a:latin typeface="Cambria Math"/>
                                  </a:rPr>
                                  <m:t>: </m:t>
                                </m:r>
                                <m:sSub>
                                  <m:sSubPr>
                                    <m:ctrlPr>
                                      <a:rPr lang="de-DE" sz="1200" i="1" smtClean="0">
                                        <a:latin typeface="Cambria Math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2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200" dirty="0"/>
                        </a:p>
                      </a:txBody>
                      <a:tcPr/>
                    </a:tc>
                  </a:tr>
                  <a:tr h="266608">
                    <a:tc>
                      <a:txBody>
                        <a:bodyPr/>
                        <a:lstStyle/>
                        <a:p>
                          <a:r>
                            <a:rPr lang="de-DE" sz="1200" dirty="0" smtClean="0"/>
                            <a:t>r2</a:t>
                          </a:r>
                          <a:endParaRPr lang="de-DE" sz="12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smtClean="0">
                                        <a:latin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>
                                        <a:latin typeface="Cambria Math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lang="de-DE" sz="1200">
                                        <a:latin typeface="Cambria Math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smtClean="0">
                                        <a:latin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de-DE" sz="1200">
                                        <a:latin typeface="Cambria Math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lang="de-DE" sz="1200">
                                        <a:latin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d>
                                  <m:dPr>
                                    <m:ctrlPr>
                                      <a:rPr lang="de-DE" sz="1200" i="1" smtClean="0"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0</m:t>
                                    </m:r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,</m:t>
                                    </m:r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1</m:t>
                                    </m:r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,</m:t>
                                    </m:r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1</m:t>
                                    </m:r>
                                  </m:e>
                                </m:d>
                                <m:r>
                                  <a:rPr lang="de-DE" sz="1200" smtClean="0">
                                    <a:latin typeface="Cambria Math"/>
                                  </a:rPr>
                                  <m:t>: </m:t>
                                </m:r>
                                <m:sSub>
                                  <m:sSubPr>
                                    <m:ctrlPr>
                                      <a:rPr lang="de-DE" sz="1200" i="1" smtClean="0">
                                        <a:latin typeface="Cambria Math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smtClean="0">
                                        <a:latin typeface="Cambria Math"/>
                                      </a:rPr>
                                      <m:t>1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200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40" name="Tabelle 39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116580614"/>
                  </p:ext>
                </p:extLst>
              </p:nvPr>
            </p:nvGraphicFramePr>
            <p:xfrm>
              <a:off x="4026406" y="5301208"/>
              <a:ext cx="5604733" cy="1056450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1650206"/>
                    <a:gridCol w="1650206"/>
                    <a:gridCol w="2304321"/>
                  </a:tblGrid>
                  <a:tr h="274320">
                    <a:tc>
                      <a:txBody>
                        <a:bodyPr/>
                        <a:lstStyle/>
                        <a:p>
                          <a:r>
                            <a:rPr lang="de-DE" sz="1200" dirty="0" smtClean="0"/>
                            <a:t>Anfrage</a:t>
                          </a:r>
                          <a:endParaRPr lang="de-DE" sz="12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dirty="0" smtClean="0"/>
                            <a:t>belegte Partition</a:t>
                          </a:r>
                          <a:endParaRPr lang="de-DE" sz="12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dirty="0" smtClean="0"/>
                            <a:t>Pfa</a:t>
                          </a:r>
                          <a:r>
                            <a:rPr lang="de-DE" sz="1200" baseline="0" dirty="0" smtClean="0"/>
                            <a:t>d der Fahrlagenvarianten</a:t>
                          </a:r>
                          <a:endParaRPr lang="de-DE" sz="1200" dirty="0"/>
                        </a:p>
                      </a:txBody>
                      <a:tcPr/>
                    </a:tc>
                  </a:tr>
                  <a:tr h="480822">
                    <a:tc>
                      <a:txBody>
                        <a:bodyPr/>
                        <a:lstStyle/>
                        <a:p>
                          <a:r>
                            <a:rPr lang="de-DE" sz="1200" dirty="0" smtClean="0"/>
                            <a:t>r1</a:t>
                          </a:r>
                          <a:endParaRPr lang="de-DE" sz="12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>
                        <a:blipFill rotWithShape="1">
                          <a:blip r:embed="rId7"/>
                          <a:stretch>
                            <a:fillRect l="-100000" t="-58228" r="-139483" b="-6455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>
                        <a:blipFill rotWithShape="1">
                          <a:blip r:embed="rId7"/>
                          <a:stretch>
                            <a:fillRect l="-143386" t="-58228" b="-64557"/>
                          </a:stretch>
                        </a:blipFill>
                      </a:tcPr>
                    </a:tc>
                  </a:tr>
                  <a:tr h="301308">
                    <a:tc>
                      <a:txBody>
                        <a:bodyPr/>
                        <a:lstStyle/>
                        <a:p>
                          <a:r>
                            <a:rPr lang="de-DE" sz="1200" dirty="0" smtClean="0"/>
                            <a:t>r2</a:t>
                          </a:r>
                          <a:endParaRPr lang="de-DE" sz="12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>
                        <a:blipFill rotWithShape="1">
                          <a:blip r:embed="rId7"/>
                          <a:stretch>
                            <a:fillRect l="-100000" t="-255102" r="-139483" b="-408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>
                        <a:blipFill rotWithShape="1">
                          <a:blip r:embed="rId7"/>
                          <a:stretch>
                            <a:fillRect l="-143386" t="-255102" b="-4082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p:sp>
        <p:nvSpPr>
          <p:cNvPr id="41" name="ElementText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654475" y="3547704"/>
            <a:ext cx="4464496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300"/>
              </a:spcBef>
            </a:pPr>
            <a:r>
              <a:rPr lang="de-DE" sz="1200" dirty="0" smtClean="0"/>
              <a:t>Fall 1: Problem lösbar </a:t>
            </a:r>
            <a:r>
              <a:rPr lang="de-DE" sz="1200" dirty="0" smtClean="0">
                <a:sym typeface="Wingdings" panose="05000000000000000000" pitchFamily="2" charset="2"/>
              </a:rPr>
              <a:t> Belegungsergebnis:</a:t>
            </a:r>
            <a:endParaRPr lang="de-DE" sz="1200" dirty="0" smtClean="0"/>
          </a:p>
        </p:txBody>
      </p:sp>
      <p:sp>
        <p:nvSpPr>
          <p:cNvPr id="42" name="ElementText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654475" y="4979268"/>
            <a:ext cx="4464496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300"/>
              </a:spcBef>
            </a:pPr>
            <a:r>
              <a:rPr lang="de-DE" sz="1200" dirty="0" smtClean="0"/>
              <a:t>Fall 2: Problem lösbar </a:t>
            </a:r>
            <a:r>
              <a:rPr lang="de-DE" sz="1200" dirty="0" smtClean="0">
                <a:sym typeface="Wingdings" panose="05000000000000000000" pitchFamily="2" charset="2"/>
              </a:rPr>
              <a:t> Belegungsergebnis:</a:t>
            </a:r>
            <a:endParaRPr lang="de-DE" sz="1200" dirty="0" smtClean="0"/>
          </a:p>
        </p:txBody>
      </p:sp>
    </p:spTree>
    <p:extLst>
      <p:ext uri="{BB962C8B-B14F-4D97-AF65-F5344CB8AC3E}">
        <p14:creationId xmlns:p14="http://schemas.microsoft.com/office/powerpoint/2010/main" val="3953366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sz="3600" dirty="0" smtClean="0"/>
              <a:t>BACKUP – Präsentation vom 18.12.2017</a:t>
            </a:r>
            <a:endParaRPr lang="de-DE" sz="3600" dirty="0"/>
          </a:p>
        </p:txBody>
      </p:sp>
    </p:spTree>
    <p:extLst>
      <p:ext uri="{BB962C8B-B14F-4D97-AF65-F5344CB8AC3E}">
        <p14:creationId xmlns:p14="http://schemas.microsoft.com/office/powerpoint/2010/main" val="1126009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Agenda</a:t>
            </a:r>
            <a:endParaRPr lang="de-DE" dirty="0"/>
          </a:p>
        </p:txBody>
      </p:sp>
      <p:sp>
        <p:nvSpPr>
          <p:cNvPr id="78" name="Foliennummernplatzhalter 7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 smtClean="0"/>
              <a:t>DB Netz AG | Patrick </a:t>
            </a:r>
            <a:r>
              <a:rPr lang="de-DE" dirty="0" err="1" smtClean="0"/>
              <a:t>Breun</a:t>
            </a:r>
            <a:r>
              <a:rPr lang="de-DE" dirty="0" smtClean="0"/>
              <a:t>, Jordis Wächter | Dresden | 18.12.2017</a:t>
            </a:r>
            <a:endParaRPr lang="de-DE" dirty="0"/>
          </a:p>
        </p:txBody>
      </p:sp>
      <p:grpSp>
        <p:nvGrpSpPr>
          <p:cNvPr id="5" name="easyAgenda"/>
          <p:cNvGrpSpPr/>
          <p:nvPr/>
        </p:nvGrpSpPr>
        <p:grpSpPr>
          <a:xfrm>
            <a:off x="1929323" y="2492442"/>
            <a:ext cx="5540429" cy="2161214"/>
            <a:chOff x="1929323" y="3500542"/>
            <a:chExt cx="5540429" cy="2161214"/>
          </a:xfrm>
        </p:grpSpPr>
        <p:sp>
          <p:nvSpPr>
            <p:cNvPr id="15" name="2_Rahmen"/>
            <p:cNvSpPr/>
            <p:nvPr>
              <p:custDataLst>
                <p:tags r:id="rId3"/>
              </p:custDataLst>
            </p:nvPr>
          </p:nvSpPr>
          <p:spPr bwMode="gray">
            <a:xfrm>
              <a:off x="1929323" y="3500542"/>
              <a:ext cx="1007641" cy="2161214"/>
            </a:xfrm>
            <a:prstGeom prst="rect">
              <a:avLst/>
            </a:prstGeom>
            <a:solidFill>
              <a:srgbClr val="878C96"/>
            </a:solidFill>
            <a:ln w="9525" cap="flat" cmpd="sng" algn="ctr">
              <a:solidFill>
                <a:srgbClr val="878C96"/>
              </a:solidFill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400" dirty="0" err="1">
                <a:solidFill>
                  <a:srgbClr val="FFFFFF"/>
                </a:solidFill>
              </a:endParaRPr>
            </a:p>
          </p:txBody>
        </p:sp>
        <p:sp>
          <p:nvSpPr>
            <p:cNvPr id="17" name="0_Inhalt_Ebene1_Highlight"/>
            <p:cNvSpPr/>
            <p:nvPr>
              <p:custDataLst>
                <p:tags r:id="rId4"/>
              </p:custDataLst>
            </p:nvPr>
          </p:nvSpPr>
          <p:spPr bwMode="gray">
            <a:xfrm>
              <a:off x="2433144" y="3646220"/>
              <a:ext cx="5036608" cy="576326"/>
            </a:xfrm>
            <a:prstGeom prst="rect">
              <a:avLst/>
            </a:prstGeom>
            <a:solidFill>
              <a:srgbClr val="E1E6EB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000000"/>
                  </a:solidFill>
                </a:rPr>
                <a:t>Offene Fragen / Diskussionsthemen</a:t>
              </a:r>
              <a:endParaRPr lang="de-DE" sz="1600" b="1" dirty="0">
                <a:solidFill>
                  <a:srgbClr val="000000"/>
                </a:solidFill>
              </a:endParaRPr>
            </a:p>
          </p:txBody>
        </p:sp>
        <p:sp>
          <p:nvSpPr>
            <p:cNvPr id="19" name="0_Seiten_Ebene1_Highlight"/>
            <p:cNvSpPr txBox="1"/>
            <p:nvPr/>
          </p:nvSpPr>
          <p:spPr bwMode="gray">
            <a:xfrm>
              <a:off x="6965994" y="3712033"/>
              <a:ext cx="503758" cy="432000"/>
            </a:xfrm>
            <a:prstGeom prst="rect">
              <a:avLst/>
            </a:prstGeom>
            <a:noFill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24" name="1_Inhalt_Ebene1"/>
            <p:cNvSpPr/>
            <p:nvPr>
              <p:custDataLst>
                <p:tags r:id="rId5"/>
              </p:custDataLst>
            </p:nvPr>
          </p:nvSpPr>
          <p:spPr bwMode="gray">
            <a:xfrm>
              <a:off x="2433143" y="4294546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nalyse der Fahrlagen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5" name="2_Inhalt_Ebene1"/>
            <p:cNvSpPr/>
            <p:nvPr>
              <p:custDataLst>
                <p:tags r:id="rId6"/>
              </p:custDataLst>
            </p:nvPr>
          </p:nvSpPr>
          <p:spPr bwMode="gray">
            <a:xfrm>
              <a:off x="2433143" y="4942872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Beispiel Modellformulierun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8" name="1_Seiten_Ebene1"/>
            <p:cNvSpPr txBox="1"/>
            <p:nvPr/>
          </p:nvSpPr>
          <p:spPr bwMode="gray">
            <a:xfrm>
              <a:off x="6965994" y="4364899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29" name="2_Seiten_Ebene1"/>
            <p:cNvSpPr txBox="1"/>
            <p:nvPr/>
          </p:nvSpPr>
          <p:spPr bwMode="gray">
            <a:xfrm>
              <a:off x="6965994" y="5013225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142723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8000" y="403200"/>
            <a:ext cx="8425027" cy="792000"/>
          </a:xfrm>
        </p:spPr>
        <p:txBody>
          <a:bodyPr/>
          <a:lstStyle/>
          <a:p>
            <a:r>
              <a:rPr lang="de-DE" dirty="0" smtClean="0"/>
              <a:t>Offene Fragen / Diskussionsthemen zur Erweiterung des SAT-Modells auf das Gesamtjahr (1/2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Patrick Breun, Jordis Wächter | Dresden | 18.12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de-DE" dirty="0"/>
          </a:p>
        </p:txBody>
      </p:sp>
      <p:sp>
        <p:nvSpPr>
          <p:cNvPr id="6" name="Rechteck 5"/>
          <p:cNvSpPr/>
          <p:nvPr/>
        </p:nvSpPr>
        <p:spPr bwMode="auto">
          <a:xfrm>
            <a:off x="342106" y="1484784"/>
            <a:ext cx="8982645" cy="576064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b="1" dirty="0" smtClean="0">
                <a:solidFill>
                  <a:srgbClr val="FFFFFF"/>
                </a:solidFill>
                <a:latin typeface="DB Office" pitchFamily="34" charset="0"/>
              </a:rPr>
              <a:t>Übergreifende F</a:t>
            </a:r>
            <a:r>
              <a:rPr kumimoji="0" lang="de-DE" sz="1400" b="1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rage: Auf welcher Ebene</a:t>
            </a:r>
            <a:r>
              <a:rPr kumimoji="0" lang="de-DE" sz="1400" b="1" i="0" u="none" strike="noStrike" cap="none" normalizeH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 soll Modellierung stattfinden – </a:t>
            </a:r>
            <a:r>
              <a:rPr kumimoji="0" lang="de-DE" sz="1400" b="1" i="0" u="none" strike="noStrike" cap="none" normalizeH="0" dirty="0" err="1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Fahrlage</a:t>
            </a:r>
            <a:r>
              <a:rPr kumimoji="0" lang="de-DE" sz="1400" b="1" i="0" u="none" strike="noStrike" cap="none" normalizeH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, Partition oder Fahrlagenvariante?</a:t>
            </a:r>
            <a:endParaRPr kumimoji="0" lang="de-DE" sz="1400" b="1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grpSp>
        <p:nvGrpSpPr>
          <p:cNvPr id="15" name="Gruppieren 14"/>
          <p:cNvGrpSpPr/>
          <p:nvPr/>
        </p:nvGrpSpPr>
        <p:grpSpPr>
          <a:xfrm>
            <a:off x="2718701" y="3761978"/>
            <a:ext cx="2160240" cy="360040"/>
            <a:chOff x="1214625" y="3705597"/>
            <a:chExt cx="2160240" cy="360040"/>
          </a:xfrm>
        </p:grpSpPr>
        <p:sp>
          <p:nvSpPr>
            <p:cNvPr id="7" name="Rechteck 6"/>
            <p:cNvSpPr/>
            <p:nvPr/>
          </p:nvSpPr>
          <p:spPr bwMode="auto">
            <a:xfrm>
              <a:off x="1214625" y="3705597"/>
              <a:ext cx="648072" cy="360040"/>
            </a:xfrm>
            <a:prstGeom prst="rect">
              <a:avLst/>
            </a:prstGeom>
            <a:solidFill>
              <a:srgbClr val="00006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0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DB Office" pitchFamily="34" charset="0"/>
                </a:rPr>
                <a:t>FLG-Var. 2</a:t>
              </a:r>
            </a:p>
          </p:txBody>
        </p:sp>
        <p:sp>
          <p:nvSpPr>
            <p:cNvPr id="8" name="Rechteck 7"/>
            <p:cNvSpPr/>
            <p:nvPr/>
          </p:nvSpPr>
          <p:spPr bwMode="auto">
            <a:xfrm>
              <a:off x="1862697" y="3705597"/>
              <a:ext cx="1512168" cy="360040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400" b="0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DB Office" pitchFamily="34" charset="0"/>
                </a:rPr>
                <a:t>FLG-Var.</a:t>
              </a:r>
              <a:r>
                <a:rPr kumimoji="0" lang="de-DE" sz="1400" b="0" i="0" u="none" strike="noStrike" cap="none" normalizeH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DB Office" pitchFamily="34" charset="0"/>
                </a:rPr>
                <a:t> 3</a:t>
              </a:r>
              <a:endPara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endParaRPr>
            </a:p>
          </p:txBody>
        </p:sp>
      </p:grpSp>
      <p:sp>
        <p:nvSpPr>
          <p:cNvPr id="9" name="Rechteck 8"/>
          <p:cNvSpPr/>
          <p:nvPr/>
        </p:nvSpPr>
        <p:spPr bwMode="auto">
          <a:xfrm>
            <a:off x="4859196" y="2693293"/>
            <a:ext cx="2160240" cy="360040"/>
          </a:xfrm>
          <a:prstGeom prst="rect">
            <a:avLst/>
          </a:prstGeom>
          <a:solidFill>
            <a:srgbClr val="00006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Fahrlagenvariante</a:t>
            </a:r>
            <a:r>
              <a:rPr kumimoji="0" lang="de-DE" sz="1400" b="0" i="0" u="none" strike="noStrike" cap="none" normalizeH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 1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grpSp>
        <p:nvGrpSpPr>
          <p:cNvPr id="16" name="Gruppieren 15"/>
          <p:cNvGrpSpPr/>
          <p:nvPr/>
        </p:nvGrpSpPr>
        <p:grpSpPr>
          <a:xfrm>
            <a:off x="6742727" y="3761978"/>
            <a:ext cx="2160240" cy="360040"/>
            <a:chOff x="5238651" y="3705597"/>
            <a:chExt cx="2160240" cy="360040"/>
          </a:xfrm>
        </p:grpSpPr>
        <p:sp>
          <p:nvSpPr>
            <p:cNvPr id="10" name="Rechteck 9"/>
            <p:cNvSpPr/>
            <p:nvPr/>
          </p:nvSpPr>
          <p:spPr bwMode="auto">
            <a:xfrm>
              <a:off x="5238651" y="3705597"/>
              <a:ext cx="1404156" cy="360040"/>
            </a:xfrm>
            <a:prstGeom prst="rect">
              <a:avLst/>
            </a:prstGeom>
            <a:solidFill>
              <a:srgbClr val="00006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400" b="0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DB Office" pitchFamily="34" charset="0"/>
                </a:rPr>
                <a:t>FLG-Var. 4</a:t>
              </a:r>
            </a:p>
          </p:txBody>
        </p:sp>
        <p:sp>
          <p:nvSpPr>
            <p:cNvPr id="11" name="Rechteck 10"/>
            <p:cNvSpPr/>
            <p:nvPr/>
          </p:nvSpPr>
          <p:spPr bwMode="auto">
            <a:xfrm>
              <a:off x="6642807" y="3705597"/>
              <a:ext cx="756084" cy="360040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0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DB Office" pitchFamily="34" charset="0"/>
                </a:rPr>
                <a:t>FLG-</a:t>
              </a:r>
              <a:br>
                <a:rPr kumimoji="0" lang="de-DE" sz="1200" b="0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DB Office" pitchFamily="34" charset="0"/>
                </a:rPr>
              </a:br>
              <a:r>
                <a:rPr kumimoji="0" lang="de-DE" sz="1200" b="0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DB Office" pitchFamily="34" charset="0"/>
                </a:rPr>
                <a:t>Var. 5</a:t>
              </a:r>
            </a:p>
          </p:txBody>
        </p:sp>
      </p:grpSp>
      <p:sp>
        <p:nvSpPr>
          <p:cNvPr id="12" name="Textfeld 11"/>
          <p:cNvSpPr txBox="1"/>
          <p:nvPr/>
        </p:nvSpPr>
        <p:spPr>
          <a:xfrm>
            <a:off x="3950599" y="2765591"/>
            <a:ext cx="856004" cy="215444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1. Partition</a:t>
            </a:r>
          </a:p>
        </p:txBody>
      </p:sp>
      <p:cxnSp>
        <p:nvCxnSpPr>
          <p:cNvPr id="14" name="Gerade Verbindung 13"/>
          <p:cNvCxnSpPr>
            <a:stCxn id="9" idx="2"/>
          </p:cNvCxnSpPr>
          <p:nvPr/>
        </p:nvCxnSpPr>
        <p:spPr bwMode="auto">
          <a:xfrm flipH="1">
            <a:off x="3790399" y="3053333"/>
            <a:ext cx="2148917" cy="70864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Gerade Verbindung 18"/>
          <p:cNvCxnSpPr>
            <a:stCxn id="9" idx="2"/>
          </p:cNvCxnSpPr>
          <p:nvPr/>
        </p:nvCxnSpPr>
        <p:spPr bwMode="auto">
          <a:xfrm>
            <a:off x="5939316" y="3053333"/>
            <a:ext cx="1883531" cy="70864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Textfeld 22"/>
          <p:cNvSpPr txBox="1"/>
          <p:nvPr/>
        </p:nvSpPr>
        <p:spPr>
          <a:xfrm>
            <a:off x="1782267" y="3834276"/>
            <a:ext cx="856004" cy="215444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>
                <a:solidFill>
                  <a:srgbClr val="000000"/>
                </a:solidFill>
                <a:latin typeface="DB Office"/>
              </a:rPr>
              <a:t>2</a:t>
            </a: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. Partition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5814715" y="3834276"/>
            <a:ext cx="856004" cy="215444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3. Partition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558131" y="3339280"/>
            <a:ext cx="705321" cy="215444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err="1" smtClean="0">
                <a:solidFill>
                  <a:srgbClr val="000000"/>
                </a:solidFill>
                <a:latin typeface="DB Office"/>
              </a:rPr>
              <a:t>Fahrlage</a:t>
            </a:r>
            <a:endParaRPr lang="de-DE" sz="1400" dirty="0" smtClean="0">
              <a:solidFill>
                <a:srgbClr val="000000"/>
              </a:solidFill>
              <a:latin typeface="DB Office"/>
            </a:endParaRPr>
          </a:p>
        </p:txBody>
      </p:sp>
      <p:sp>
        <p:nvSpPr>
          <p:cNvPr id="26" name="Geschweifte Klammer links 25"/>
          <p:cNvSpPr/>
          <p:nvPr/>
        </p:nvSpPr>
        <p:spPr bwMode="auto">
          <a:xfrm>
            <a:off x="1422227" y="2672916"/>
            <a:ext cx="295411" cy="1548172"/>
          </a:xfrm>
          <a:prstGeom prst="leftBrace">
            <a:avLst>
              <a:gd name="adj1" fmla="val 35740"/>
              <a:gd name="adj2" fmla="val 50000"/>
            </a:avLst>
          </a:prstGeom>
          <a:noFill/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Rectangle 65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342107" y="2204864"/>
            <a:ext cx="8982645" cy="3960440"/>
          </a:xfrm>
          <a:prstGeom prst="rect">
            <a:avLst/>
          </a:prstGeom>
          <a:ln w="9525">
            <a:solidFill>
              <a:srgbClr val="C8CDD2"/>
            </a:solidFill>
          </a:ln>
        </p:spPr>
        <p:txBody>
          <a:bodyPr vert="horz" lIns="72000" tIns="72000" rIns="72000" bIns="7200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smtClean="0">
                <a:solidFill>
                  <a:srgbClr val="000000"/>
                </a:solidFill>
                <a:latin typeface="DB Office"/>
              </a:rPr>
              <a:t>Auch im SAT-Modell sind folgende Bedingungen zu erfüllen:</a:t>
            </a:r>
          </a:p>
          <a:p>
            <a:pPr lvl="2"/>
            <a:r>
              <a:rPr lang="de-DE" dirty="0" smtClean="0">
                <a:solidFill>
                  <a:srgbClr val="000000"/>
                </a:solidFill>
                <a:latin typeface="DB Office"/>
              </a:rPr>
              <a:t>Innerhalb des Verkehrszeitraums einer Fahrlagenvariante ist eine vollständig homogene Belegung zu gewährleisten (d.h. an jedem Verkehrstag der FLG-Variante sind die gleichen Systemtrassen zu nutzen)</a:t>
            </a:r>
          </a:p>
          <a:p>
            <a:pPr lvl="2"/>
            <a:r>
              <a:rPr lang="de-DE" dirty="0" smtClean="0">
                <a:solidFill>
                  <a:srgbClr val="000000"/>
                </a:solidFill>
                <a:latin typeface="DB Office"/>
              </a:rPr>
              <a:t>Eine Partition ist nur vollständig belegt, wenn alle zugehörigen Fahrlagenvarianten belegt werden konnten</a:t>
            </a:r>
          </a:p>
          <a:p>
            <a:pPr lvl="2"/>
            <a:r>
              <a:rPr lang="de-DE" dirty="0" smtClean="0">
                <a:solidFill>
                  <a:srgbClr val="000000"/>
                </a:solidFill>
                <a:latin typeface="DB Office"/>
              </a:rPr>
              <a:t>Innerhalb einer </a:t>
            </a:r>
            <a:r>
              <a:rPr lang="de-DE" dirty="0" err="1" smtClean="0">
                <a:solidFill>
                  <a:srgbClr val="000000"/>
                </a:solidFill>
                <a:latin typeface="DB Office"/>
              </a:rPr>
              <a:t>Fahrlage</a:t>
            </a:r>
            <a:r>
              <a:rPr lang="de-DE" dirty="0" smtClean="0">
                <a:solidFill>
                  <a:srgbClr val="000000"/>
                </a:solidFill>
                <a:latin typeface="DB Office"/>
              </a:rPr>
              <a:t> darf nur eine Partition belegt werden  </a:t>
            </a:r>
          </a:p>
          <a:p>
            <a:pPr marL="177800" lvl="2" indent="0">
              <a:buNone/>
            </a:pPr>
            <a:endParaRPr lang="de-DE" dirty="0">
              <a:solidFill>
                <a:srgbClr val="000000"/>
              </a:solidFill>
              <a:latin typeface="DB Office"/>
            </a:endParaRPr>
          </a:p>
        </p:txBody>
      </p:sp>
      <p:cxnSp>
        <p:nvCxnSpPr>
          <p:cNvPr id="30" name="Gerade Verbindung mit Pfeil 29"/>
          <p:cNvCxnSpPr/>
          <p:nvPr/>
        </p:nvCxnSpPr>
        <p:spPr bwMode="auto">
          <a:xfrm>
            <a:off x="4864857" y="2636912"/>
            <a:ext cx="2154579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Textfeld 30"/>
          <p:cNvSpPr txBox="1"/>
          <p:nvPr/>
        </p:nvSpPr>
        <p:spPr>
          <a:xfrm>
            <a:off x="5345252" y="2452246"/>
            <a:ext cx="1193788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Verkehrszeitraum</a:t>
            </a:r>
          </a:p>
        </p:txBody>
      </p:sp>
      <p:cxnSp>
        <p:nvCxnSpPr>
          <p:cNvPr id="32" name="Gerade Verbindung mit Pfeil 31"/>
          <p:cNvCxnSpPr/>
          <p:nvPr/>
        </p:nvCxnSpPr>
        <p:spPr bwMode="auto">
          <a:xfrm>
            <a:off x="6745558" y="3697082"/>
            <a:ext cx="2154579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Textfeld 32"/>
          <p:cNvSpPr txBox="1"/>
          <p:nvPr/>
        </p:nvSpPr>
        <p:spPr>
          <a:xfrm>
            <a:off x="7225953" y="3512416"/>
            <a:ext cx="1193788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Verkehrszeitraum</a:t>
            </a:r>
          </a:p>
        </p:txBody>
      </p:sp>
      <p:cxnSp>
        <p:nvCxnSpPr>
          <p:cNvPr id="34" name="Gerade Verbindung mit Pfeil 33"/>
          <p:cNvCxnSpPr/>
          <p:nvPr/>
        </p:nvCxnSpPr>
        <p:spPr bwMode="auto">
          <a:xfrm>
            <a:off x="2713110" y="3697082"/>
            <a:ext cx="2154579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Textfeld 34"/>
          <p:cNvSpPr txBox="1"/>
          <p:nvPr/>
        </p:nvSpPr>
        <p:spPr>
          <a:xfrm>
            <a:off x="3193505" y="3512416"/>
            <a:ext cx="1193788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Verkehrszeitraum</a:t>
            </a:r>
          </a:p>
        </p:txBody>
      </p:sp>
    </p:spTree>
    <p:extLst>
      <p:ext uri="{BB962C8B-B14F-4D97-AF65-F5344CB8AC3E}">
        <p14:creationId xmlns:p14="http://schemas.microsoft.com/office/powerpoint/2010/main" val="1490312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8000" y="403200"/>
            <a:ext cx="8425027" cy="792000"/>
          </a:xfrm>
        </p:spPr>
        <p:txBody>
          <a:bodyPr/>
          <a:lstStyle/>
          <a:p>
            <a:r>
              <a:rPr lang="de-DE" dirty="0" smtClean="0"/>
              <a:t>Offene Fragen / Diskussionsthemen zur Erweiterung des SAT-Modells auf das Gesamtjahr (2/2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Patrick Breun, Jordis Wächter | Dresden | 18.12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de-DE" dirty="0"/>
          </a:p>
        </p:txBody>
      </p:sp>
      <p:sp>
        <p:nvSpPr>
          <p:cNvPr id="6" name="Rechteck 5"/>
          <p:cNvSpPr/>
          <p:nvPr/>
        </p:nvSpPr>
        <p:spPr bwMode="auto">
          <a:xfrm>
            <a:off x="342106" y="1484784"/>
            <a:ext cx="8982645" cy="576064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b="1" dirty="0" smtClean="0">
                <a:solidFill>
                  <a:srgbClr val="FFFFFF"/>
                </a:solidFill>
                <a:latin typeface="DB Office" pitchFamily="34" charset="0"/>
              </a:rPr>
              <a:t>Übergreifende F</a:t>
            </a:r>
            <a:r>
              <a:rPr kumimoji="0" lang="de-DE" sz="1400" b="1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rage: Auf welcher Ebene</a:t>
            </a:r>
            <a:r>
              <a:rPr kumimoji="0" lang="de-DE" sz="1400" b="1" i="0" u="none" strike="noStrike" cap="none" normalizeH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 soll Modellierung stattfinden – </a:t>
            </a:r>
            <a:r>
              <a:rPr kumimoji="0" lang="de-DE" sz="1400" b="1" i="0" u="none" strike="noStrike" cap="none" normalizeH="0" dirty="0" err="1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Fahrlage</a:t>
            </a:r>
            <a:r>
              <a:rPr kumimoji="0" lang="de-DE" sz="1400" b="1" i="0" u="none" strike="noStrike" cap="none" normalizeH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, Partition oder Fahrlagenvariante?</a:t>
            </a:r>
            <a:endParaRPr kumimoji="0" lang="de-DE" sz="1400" b="1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7" name="Rectangle 65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342107" y="2204864"/>
            <a:ext cx="8982645" cy="3960440"/>
          </a:xfrm>
          <a:prstGeom prst="rect">
            <a:avLst/>
          </a:prstGeom>
          <a:ln w="9525">
            <a:solidFill>
              <a:srgbClr val="C8CDD2"/>
            </a:solidFill>
          </a:ln>
        </p:spPr>
        <p:txBody>
          <a:bodyPr vert="horz" lIns="216000" tIns="72000" rIns="216000" bIns="720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600" dirty="0" smtClean="0">
                <a:solidFill>
                  <a:srgbClr val="000000"/>
                </a:solidFill>
                <a:latin typeface="DB Office"/>
              </a:rPr>
              <a:t>Intelligenz</a:t>
            </a:r>
            <a:r>
              <a:rPr lang="de-DE" sz="1600" dirty="0">
                <a:solidFill>
                  <a:srgbClr val="000000"/>
                </a:solidFill>
                <a:latin typeface="DB Office"/>
              </a:rPr>
              <a:t>, welche Fahrlagenvarianten zu welcher Partition gehören, muss auch über Logikoperationen abgedeckt werden</a:t>
            </a:r>
          </a:p>
          <a:p>
            <a:pPr lvl="1"/>
            <a:r>
              <a:rPr lang="de-DE" sz="1600" dirty="0" smtClean="0">
                <a:solidFill>
                  <a:srgbClr val="000000"/>
                </a:solidFill>
                <a:latin typeface="DB Office"/>
              </a:rPr>
              <a:t>Gibt es </a:t>
            </a:r>
            <a:r>
              <a:rPr lang="de-DE" sz="1600" dirty="0">
                <a:solidFill>
                  <a:srgbClr val="000000"/>
                </a:solidFill>
                <a:latin typeface="DB Office"/>
              </a:rPr>
              <a:t>A</a:t>
            </a:r>
            <a:r>
              <a:rPr lang="de-DE" sz="1600" dirty="0" smtClean="0">
                <a:solidFill>
                  <a:srgbClr val="000000"/>
                </a:solidFill>
                <a:latin typeface="DB Office"/>
              </a:rPr>
              <a:t>lternativen zu</a:t>
            </a:r>
            <a:r>
              <a:rPr lang="de-DE" sz="1600" dirty="0">
                <a:solidFill>
                  <a:srgbClr val="000000"/>
                </a:solidFill>
                <a:latin typeface="DB Office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DB Office"/>
              </a:rPr>
              <a:t>einer tageweisen Aufstellung der Logikoperationen?</a:t>
            </a:r>
            <a:endParaRPr lang="de-DE" sz="1600" dirty="0">
              <a:solidFill>
                <a:srgbClr val="000000"/>
              </a:solidFill>
              <a:latin typeface="DB Office"/>
            </a:endParaRPr>
          </a:p>
          <a:p>
            <a:pPr lvl="1"/>
            <a:r>
              <a:rPr lang="de-DE" sz="1600" dirty="0" smtClean="0">
                <a:solidFill>
                  <a:srgbClr val="000000"/>
                </a:solidFill>
                <a:latin typeface="DB Office"/>
              </a:rPr>
              <a:t>Wie kann Homogenitätskennzahl im SAT-Modell berücksichtigt werden? </a:t>
            </a:r>
            <a:br>
              <a:rPr lang="de-DE" sz="1600" dirty="0" smtClean="0">
                <a:solidFill>
                  <a:srgbClr val="000000"/>
                </a:solidFill>
                <a:latin typeface="DB Office"/>
              </a:rPr>
            </a:br>
            <a:r>
              <a:rPr lang="de-DE" sz="1600" dirty="0" smtClean="0">
                <a:solidFill>
                  <a:srgbClr val="000000"/>
                </a:solidFill>
                <a:latin typeface="DB Office"/>
              </a:rPr>
              <a:t>Bzw. wie kann Optimierung nach Homogenität gesteuert werden?</a:t>
            </a:r>
          </a:p>
        </p:txBody>
      </p:sp>
    </p:spTree>
    <p:extLst>
      <p:ext uri="{BB962C8B-B14F-4D97-AF65-F5344CB8AC3E}">
        <p14:creationId xmlns:p14="http://schemas.microsoft.com/office/powerpoint/2010/main" val="1940624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ögliche Anpassung des Ablaufs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Patrick Breun, Jordis Wächter | Dresden | 18.12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de-DE" dirty="0"/>
          </a:p>
        </p:txBody>
      </p:sp>
      <p:pic>
        <p:nvPicPr>
          <p:cNvPr id="11266" name="Picture 2" descr="D:\Users\PatrickBreun\Downloads\image2017-12-13 8_21_11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8743"/>
          <a:stretch/>
        </p:blipFill>
        <p:spPr bwMode="auto">
          <a:xfrm>
            <a:off x="2214315" y="1412776"/>
            <a:ext cx="7281984" cy="2952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ige Legende 4"/>
          <p:cNvSpPr/>
          <p:nvPr/>
        </p:nvSpPr>
        <p:spPr bwMode="auto">
          <a:xfrm>
            <a:off x="270099" y="1052736"/>
            <a:ext cx="2232248" cy="504056"/>
          </a:xfrm>
          <a:prstGeom prst="wedgeRectCallout">
            <a:avLst>
              <a:gd name="adj1" fmla="val 81948"/>
              <a:gd name="adj2" fmla="val 128809"/>
            </a:avLst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indent="-1714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Partitionen und Fahrlagen-varianten laden </a:t>
            </a:r>
          </a:p>
        </p:txBody>
      </p:sp>
      <p:sp>
        <p:nvSpPr>
          <p:cNvPr id="7" name="Rechteckige Legende 6"/>
          <p:cNvSpPr/>
          <p:nvPr/>
        </p:nvSpPr>
        <p:spPr bwMode="auto">
          <a:xfrm>
            <a:off x="270099" y="1916832"/>
            <a:ext cx="2232248" cy="396044"/>
          </a:xfrm>
          <a:prstGeom prst="wedgeRectCallout">
            <a:avLst>
              <a:gd name="adj1" fmla="val 114662"/>
              <a:gd name="adj2" fmla="val 63702"/>
            </a:avLst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indent="-1714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Je Fahrlagenvariante</a:t>
            </a:r>
          </a:p>
        </p:txBody>
      </p:sp>
      <p:sp>
        <p:nvSpPr>
          <p:cNvPr id="8" name="Rechteckige Legende 7"/>
          <p:cNvSpPr/>
          <p:nvPr/>
        </p:nvSpPr>
        <p:spPr bwMode="auto">
          <a:xfrm>
            <a:off x="270099" y="2492896"/>
            <a:ext cx="2232248" cy="862397"/>
          </a:xfrm>
          <a:prstGeom prst="wedgeRectCallout">
            <a:avLst>
              <a:gd name="adj1" fmla="val 96962"/>
              <a:gd name="adj2" fmla="val -10214"/>
            </a:avLst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indent="-1714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200" dirty="0" smtClean="0">
                <a:solidFill>
                  <a:srgbClr val="FFFFFF"/>
                </a:solidFill>
                <a:latin typeface="DB Office" pitchFamily="34" charset="0"/>
              </a:rPr>
              <a:t>MSMS-Wegesuche je Fahrlagenvariante inkl. V/N (Konzept hierfür steht)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9" name="Rechteckige Legende 8"/>
          <p:cNvSpPr/>
          <p:nvPr/>
        </p:nvSpPr>
        <p:spPr bwMode="auto">
          <a:xfrm>
            <a:off x="5742707" y="2398229"/>
            <a:ext cx="2664296" cy="792088"/>
          </a:xfrm>
          <a:prstGeom prst="wedgeRectCallout">
            <a:avLst>
              <a:gd name="adj1" fmla="val -107099"/>
              <a:gd name="adj2" fmla="val 48069"/>
            </a:avLst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indent="-1714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Fahrlagenvariante nicht belegbar wenn kein</a:t>
            </a:r>
            <a:r>
              <a:rPr kumimoji="0" lang="de-DE" sz="1200" b="0" i="0" u="none" strike="noStrike" cap="none" normalizeH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 V/N gefunden</a:t>
            </a:r>
          </a:p>
          <a:p>
            <a:pPr marL="171450" marR="0" indent="-1714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200" baseline="0" dirty="0" smtClean="0">
                <a:solidFill>
                  <a:srgbClr val="FFFFFF"/>
                </a:solidFill>
                <a:latin typeface="DB Office" pitchFamily="34" charset="0"/>
              </a:rPr>
              <a:t>Zugehörige Partitionen löschen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10" name="Rechteckige Legende 9"/>
          <p:cNvSpPr/>
          <p:nvPr/>
        </p:nvSpPr>
        <p:spPr bwMode="auto">
          <a:xfrm>
            <a:off x="270099" y="3645024"/>
            <a:ext cx="2448272" cy="1800200"/>
          </a:xfrm>
          <a:prstGeom prst="wedgeRectCallout">
            <a:avLst>
              <a:gd name="adj1" fmla="val 96724"/>
              <a:gd name="adj2" fmla="val -19230"/>
            </a:avLst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FFFFFF"/>
                </a:solidFill>
                <a:latin typeface="DB Office" pitchFamily="34" charset="0"/>
              </a:rPr>
              <a:t>Zusätzlicher Index: </a:t>
            </a:r>
            <a:r>
              <a:rPr lang="de-DE" sz="1200" dirty="0" smtClean="0">
                <a:solidFill>
                  <a:srgbClr val="FFFFFF"/>
                </a:solidFill>
                <a:latin typeface="DB Office" pitchFamily="34" charset="0"/>
              </a:rPr>
              <a:t>Tag (Konfliktfreiheit an jedem Tag im  Netzfahrplan)</a:t>
            </a:r>
            <a:endParaRPr lang="de-DE" sz="1200" u="sng" dirty="0" smtClean="0">
              <a:solidFill>
                <a:srgbClr val="FFFFFF"/>
              </a:solidFill>
              <a:latin typeface="DB Office" pitchFamily="34" charset="0"/>
            </a:endParaRPr>
          </a:p>
          <a:p>
            <a:pPr marL="171450" marR="0" indent="-1714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200" dirty="0" smtClean="0">
                <a:solidFill>
                  <a:srgbClr val="FFFFFF"/>
                </a:solidFill>
                <a:latin typeface="DB Office" pitchFamily="34" charset="0"/>
              </a:rPr>
              <a:t>Zusätzliche Bedingungen: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rgbClr val="FFFFFF"/>
                </a:solidFill>
                <a:latin typeface="DB Office" pitchFamily="34" charset="0"/>
              </a:rPr>
              <a:t>Alle Fahrlagenvarianten einer Partition belegen oder keine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rgbClr val="FFFFFF"/>
                </a:solidFill>
                <a:latin typeface="DB Office" pitchFamily="34" charset="0"/>
              </a:rPr>
              <a:t>Nur genau 1 Partition je </a:t>
            </a:r>
            <a:r>
              <a:rPr lang="de-DE" sz="1200" dirty="0" err="1" smtClean="0">
                <a:solidFill>
                  <a:srgbClr val="FFFFFF"/>
                </a:solidFill>
                <a:latin typeface="DB Office" pitchFamily="34" charset="0"/>
              </a:rPr>
              <a:t>Fahrlage</a:t>
            </a:r>
            <a:r>
              <a:rPr lang="de-DE" sz="1200" dirty="0" smtClean="0">
                <a:solidFill>
                  <a:srgbClr val="FFFFFF"/>
                </a:solidFill>
                <a:latin typeface="DB Office" pitchFamily="34" charset="0"/>
              </a:rPr>
              <a:t> belegen</a:t>
            </a:r>
          </a:p>
        </p:txBody>
      </p:sp>
      <p:sp>
        <p:nvSpPr>
          <p:cNvPr id="12" name="Rectangle 65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3078411" y="4725144"/>
            <a:ext cx="6246341" cy="1584176"/>
          </a:xfrm>
          <a:prstGeom prst="rect">
            <a:avLst/>
          </a:prstGeom>
          <a:ln w="9525">
            <a:solidFill>
              <a:srgbClr val="C8CDD2"/>
            </a:solidFill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de-DE" sz="1200" u="sng" dirty="0" smtClean="0">
                <a:solidFill>
                  <a:srgbClr val="000000"/>
                </a:solidFill>
                <a:latin typeface="DB Office"/>
              </a:rPr>
              <a:t>Problem:</a:t>
            </a:r>
          </a:p>
          <a:p>
            <a:pPr lvl="1"/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Keine Steuerung der Homogenität möglich, d.h. Partitionen im Endergebnis sind eher zufällig gewählt (oder?)</a:t>
            </a:r>
          </a:p>
          <a:p>
            <a:pPr marL="0" lvl="1" indent="0">
              <a:buNone/>
            </a:pPr>
            <a:r>
              <a:rPr lang="de-DE" sz="1200" u="sng" dirty="0" smtClean="0">
                <a:solidFill>
                  <a:srgbClr val="000000"/>
                </a:solidFill>
                <a:latin typeface="DB Office"/>
              </a:rPr>
              <a:t>Alternative Idee:</a:t>
            </a:r>
          </a:p>
          <a:p>
            <a:pPr lvl="1"/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Untersuche jeweils nur eine Partition je </a:t>
            </a:r>
            <a:r>
              <a:rPr lang="de-DE" sz="1200" dirty="0" err="1" smtClean="0">
                <a:solidFill>
                  <a:srgbClr val="000000"/>
                </a:solidFill>
                <a:latin typeface="DB Office"/>
              </a:rPr>
              <a:t>Fahrlage</a:t>
            </a: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 (mehrere Durchläufe mit unterschiedlichen Partitionen je </a:t>
            </a:r>
            <a:r>
              <a:rPr lang="de-DE" sz="1200" dirty="0" err="1" smtClean="0">
                <a:solidFill>
                  <a:srgbClr val="000000"/>
                </a:solidFill>
                <a:latin typeface="DB Office"/>
              </a:rPr>
              <a:t>Fahrlage</a:t>
            </a: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)</a:t>
            </a:r>
            <a:endParaRPr lang="de-DE" sz="1200" dirty="0">
              <a:solidFill>
                <a:srgbClr val="000000"/>
              </a:solidFill>
              <a:latin typeface="DB Office"/>
            </a:endParaRPr>
          </a:p>
        </p:txBody>
      </p:sp>
    </p:spTree>
    <p:extLst>
      <p:ext uri="{BB962C8B-B14F-4D97-AF65-F5344CB8AC3E}">
        <p14:creationId xmlns:p14="http://schemas.microsoft.com/office/powerpoint/2010/main" val="1874502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ögliche Anpassung des Ablaufs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Patrick Breun, Jordis Wächter | Dresden | 18.12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de-DE" dirty="0"/>
          </a:p>
        </p:txBody>
      </p:sp>
      <p:pic>
        <p:nvPicPr>
          <p:cNvPr id="12290" name="Picture 2" descr="D:\Users\PatrickBreun\Downloads\image2017-12-13 8_21_11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257" b="16458"/>
          <a:stretch/>
        </p:blipFill>
        <p:spPr bwMode="auto">
          <a:xfrm>
            <a:off x="2862387" y="1268760"/>
            <a:ext cx="6817621" cy="4977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ige Legende 6"/>
          <p:cNvSpPr/>
          <p:nvPr/>
        </p:nvSpPr>
        <p:spPr bwMode="auto">
          <a:xfrm>
            <a:off x="186161" y="3315655"/>
            <a:ext cx="2736304" cy="441784"/>
          </a:xfrm>
          <a:prstGeom prst="wedgeRectCallout">
            <a:avLst>
              <a:gd name="adj1" fmla="val 81251"/>
              <a:gd name="adj2" fmla="val -1503"/>
            </a:avLst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indent="-1714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Systemtrassen oder</a:t>
            </a:r>
            <a:r>
              <a:rPr kumimoji="0" lang="de-DE" sz="1200" b="0" i="0" u="none" strike="noStrike" cap="none" normalizeH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 Halteplätze </a:t>
            </a:r>
            <a:r>
              <a:rPr kumimoji="0" lang="de-DE" sz="1200" b="1" i="0" u="none" strike="noStrike" cap="none" normalizeH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für Tage </a:t>
            </a:r>
            <a:r>
              <a:rPr kumimoji="0" lang="de-DE" sz="1200" b="1" i="0" u="none" strike="noStrike" cap="none" normalizeH="0" dirty="0" err="1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xy</a:t>
            </a: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 sperren</a:t>
            </a:r>
          </a:p>
        </p:txBody>
      </p:sp>
      <p:sp>
        <p:nvSpPr>
          <p:cNvPr id="8" name="Rechteckige Legende 7"/>
          <p:cNvSpPr/>
          <p:nvPr/>
        </p:nvSpPr>
        <p:spPr bwMode="auto">
          <a:xfrm>
            <a:off x="186161" y="2492896"/>
            <a:ext cx="2736304" cy="648072"/>
          </a:xfrm>
          <a:prstGeom prst="wedgeRectCallout">
            <a:avLst>
              <a:gd name="adj1" fmla="val 84036"/>
              <a:gd name="adj2" fmla="val 40834"/>
            </a:avLst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indent="-1714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Welche Systemtrassen / Halteplätze</a:t>
            </a:r>
            <a:r>
              <a:rPr kumimoji="0" lang="de-DE" sz="1200" b="0" i="0" u="none" strike="noStrike" cap="none" normalizeH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 sind </a:t>
            </a:r>
            <a:r>
              <a:rPr kumimoji="0" lang="de-DE" sz="1200" b="1" i="0" u="none" strike="noStrike" cap="none" normalizeH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n welchen Tagen </a:t>
            </a:r>
            <a:r>
              <a:rPr kumimoji="0" lang="de-DE" sz="1200" b="0" i="0" u="none" strike="noStrike" cap="none" normalizeH="0" dirty="0" err="1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konfliktär</a:t>
            </a:r>
            <a:r>
              <a:rPr kumimoji="0" lang="de-DE" sz="1200" b="0" i="0" u="none" strike="noStrike" cap="none" normalizeH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?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9" name="Rechteckige Legende 8"/>
          <p:cNvSpPr/>
          <p:nvPr/>
        </p:nvSpPr>
        <p:spPr bwMode="auto">
          <a:xfrm>
            <a:off x="186161" y="1484784"/>
            <a:ext cx="2736304" cy="864096"/>
          </a:xfrm>
          <a:prstGeom prst="wedgeRectCallout">
            <a:avLst>
              <a:gd name="adj1" fmla="val 82991"/>
              <a:gd name="adj2" fmla="val 37761"/>
            </a:avLst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indent="-1714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TBD: Welche Fahrlagen </a:t>
            </a:r>
            <a:r>
              <a:rPr kumimoji="0" lang="de-DE" sz="1200" b="1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oder </a:t>
            </a: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Partitionen</a:t>
            </a:r>
            <a:r>
              <a:rPr kumimoji="0" lang="de-DE" sz="1200" b="0" i="0" u="none" strike="noStrike" cap="none" normalizeH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 </a:t>
            </a:r>
            <a:r>
              <a:rPr kumimoji="0" lang="de-DE" sz="1200" b="1" i="0" u="none" strike="noStrike" cap="none" normalizeH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oder</a:t>
            </a:r>
            <a:r>
              <a:rPr kumimoji="0" lang="de-DE" sz="1200" b="0" i="0" u="none" strike="noStrike" cap="none" normalizeH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 Fahrlagenvarianten können nicht gleichzeitig belegt werden?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10" name="Rechteckige Legende 9"/>
          <p:cNvSpPr/>
          <p:nvPr/>
        </p:nvSpPr>
        <p:spPr bwMode="auto">
          <a:xfrm>
            <a:off x="212008" y="3851312"/>
            <a:ext cx="2736304" cy="585800"/>
          </a:xfrm>
          <a:prstGeom prst="wedgeRectCallout">
            <a:avLst>
              <a:gd name="adj1" fmla="val 86473"/>
              <a:gd name="adj2" fmla="val 48903"/>
            </a:avLst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FFFFFF"/>
                </a:solidFill>
                <a:latin typeface="DB Office" pitchFamily="34" charset="0"/>
              </a:rPr>
              <a:t>MSMS-Wegesuche je Fahrlagenvariante inkl. V/N (Konzept hierfür steht)</a:t>
            </a:r>
          </a:p>
        </p:txBody>
      </p:sp>
      <p:sp>
        <p:nvSpPr>
          <p:cNvPr id="11" name="Rechteckige Legende 10"/>
          <p:cNvSpPr/>
          <p:nvPr/>
        </p:nvSpPr>
        <p:spPr bwMode="auto">
          <a:xfrm>
            <a:off x="6102747" y="3374368"/>
            <a:ext cx="2232248" cy="396044"/>
          </a:xfrm>
          <a:prstGeom prst="wedgeRectCallout">
            <a:avLst>
              <a:gd name="adj1" fmla="val -89301"/>
              <a:gd name="adj2" fmla="val 80537"/>
            </a:avLst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indent="-1714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Je Fahrlagenvariante</a:t>
            </a:r>
          </a:p>
        </p:txBody>
      </p:sp>
      <p:sp>
        <p:nvSpPr>
          <p:cNvPr id="12" name="Rechteckige Legende 11"/>
          <p:cNvSpPr/>
          <p:nvPr/>
        </p:nvSpPr>
        <p:spPr bwMode="auto">
          <a:xfrm>
            <a:off x="212008" y="5939544"/>
            <a:ext cx="2736304" cy="585800"/>
          </a:xfrm>
          <a:prstGeom prst="wedgeRectCallout">
            <a:avLst>
              <a:gd name="adj1" fmla="val 101790"/>
              <a:gd name="adj2" fmla="val -99061"/>
            </a:avLst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rgbClr val="FFFFFF"/>
                </a:solidFill>
                <a:latin typeface="DB Office" pitchFamily="34" charset="0"/>
              </a:rPr>
              <a:t>TBD: Stärkere Gewichtung von homogeneren Partitionen</a:t>
            </a:r>
            <a:endParaRPr lang="de-DE" sz="1200" dirty="0">
              <a:solidFill>
                <a:srgbClr val="FFFFFF"/>
              </a:solidFill>
              <a:latin typeface="DB Office" pitchFamily="34" charset="0"/>
            </a:endParaRPr>
          </a:p>
        </p:txBody>
      </p:sp>
      <p:sp>
        <p:nvSpPr>
          <p:cNvPr id="13" name="Rectangle 65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212008" y="4465687"/>
            <a:ext cx="2710457" cy="1434828"/>
          </a:xfrm>
          <a:prstGeom prst="rect">
            <a:avLst/>
          </a:prstGeom>
          <a:ln w="9525">
            <a:solidFill>
              <a:srgbClr val="C8CDD2"/>
            </a:solidFill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300"/>
              </a:spcBef>
              <a:buNone/>
            </a:pPr>
            <a:r>
              <a:rPr lang="de-DE" sz="1200" u="sng" dirty="0" smtClean="0">
                <a:solidFill>
                  <a:srgbClr val="000000"/>
                </a:solidFill>
                <a:latin typeface="DB Office"/>
              </a:rPr>
              <a:t>Idee:</a:t>
            </a:r>
          </a:p>
          <a:p>
            <a:pPr lvl="1">
              <a:spcBef>
                <a:spcPts val="300"/>
              </a:spcBef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Falls keine neuen Systemtrassen gefunden werden, teste ob für Partition mit mehr Schnitten Konflikt weiterhin besteht (initial: nur Partitionen ohne Schnitte)</a:t>
            </a:r>
          </a:p>
          <a:p>
            <a:pPr lvl="1">
              <a:spcBef>
                <a:spcPts val="300"/>
              </a:spcBef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Vorteil: Nur 1 Partition pro </a:t>
            </a:r>
            <a:r>
              <a:rPr lang="de-DE" sz="1200" dirty="0" err="1" smtClean="0">
                <a:solidFill>
                  <a:srgbClr val="000000"/>
                </a:solidFill>
                <a:latin typeface="DB Office"/>
              </a:rPr>
              <a:t>Fahrlage</a:t>
            </a:r>
            <a:endParaRPr lang="de-DE" sz="1200" dirty="0">
              <a:solidFill>
                <a:srgbClr val="000000"/>
              </a:solidFill>
              <a:latin typeface="DB Office"/>
            </a:endParaRPr>
          </a:p>
        </p:txBody>
      </p:sp>
      <p:cxnSp>
        <p:nvCxnSpPr>
          <p:cNvPr id="6" name="Gerade Verbindung mit Pfeil 5"/>
          <p:cNvCxnSpPr>
            <a:stCxn id="13" idx="3"/>
          </p:cNvCxnSpPr>
          <p:nvPr/>
        </p:nvCxnSpPr>
        <p:spPr bwMode="auto">
          <a:xfrm>
            <a:off x="2922465" y="5183101"/>
            <a:ext cx="1812130" cy="49998"/>
          </a:xfrm>
          <a:prstGeom prst="straightConnector1">
            <a:avLst/>
          </a:prstGeom>
          <a:solidFill>
            <a:schemeClr val="accent1"/>
          </a:solidFill>
          <a:ln w="1587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462007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51759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5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/>
        </p:nvSpPr>
        <p:spPr bwMode="auto">
          <a:xfrm>
            <a:off x="1350219" y="3654871"/>
            <a:ext cx="7344816" cy="288032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Systemtrasse 1</a:t>
            </a:r>
          </a:p>
        </p:txBody>
      </p:sp>
      <p:cxnSp>
        <p:nvCxnSpPr>
          <p:cNvPr id="14" name="Gerade Verbindung 13"/>
          <p:cNvCxnSpPr>
            <a:endCxn id="12" idx="2"/>
          </p:cNvCxnSpPr>
          <p:nvPr/>
        </p:nvCxnSpPr>
        <p:spPr bwMode="auto">
          <a:xfrm flipV="1">
            <a:off x="2114054" y="2361552"/>
            <a:ext cx="1" cy="1581351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Gerade Verbindung 14"/>
          <p:cNvCxnSpPr/>
          <p:nvPr/>
        </p:nvCxnSpPr>
        <p:spPr bwMode="auto">
          <a:xfrm flipV="1">
            <a:off x="2502347" y="2361553"/>
            <a:ext cx="0" cy="1581350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i tageweiser Sperrung von Systemtrassen / Halteplätzen müssen nur für bestimmte Fahrlagen neue Wege gefunden werden 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Patrick Breun, Jordis Wächter | Dresden | 18.12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de-DE" dirty="0"/>
          </a:p>
        </p:txBody>
      </p:sp>
      <p:sp>
        <p:nvSpPr>
          <p:cNvPr id="6" name="Rechteck 5"/>
          <p:cNvSpPr/>
          <p:nvPr/>
        </p:nvSpPr>
        <p:spPr bwMode="auto">
          <a:xfrm>
            <a:off x="1350219" y="3035796"/>
            <a:ext cx="1152128" cy="288032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FLG-Var. 1</a:t>
            </a:r>
          </a:p>
        </p:txBody>
      </p:sp>
      <p:sp>
        <p:nvSpPr>
          <p:cNvPr id="7" name="Rechteck 6"/>
          <p:cNvSpPr/>
          <p:nvPr/>
        </p:nvSpPr>
        <p:spPr bwMode="auto">
          <a:xfrm>
            <a:off x="4014515" y="3035796"/>
            <a:ext cx="4680519" cy="288032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Fahrlagenvariante 3</a:t>
            </a:r>
          </a:p>
        </p:txBody>
      </p:sp>
      <p:sp>
        <p:nvSpPr>
          <p:cNvPr id="8" name="Rechteck 7"/>
          <p:cNvSpPr/>
          <p:nvPr/>
        </p:nvSpPr>
        <p:spPr bwMode="auto">
          <a:xfrm>
            <a:off x="2114055" y="2531740"/>
            <a:ext cx="1684436" cy="288032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FLG-Variante 2</a:t>
            </a:r>
          </a:p>
        </p:txBody>
      </p:sp>
      <p:cxnSp>
        <p:nvCxnSpPr>
          <p:cNvPr id="9" name="Gerade Verbindung mit Pfeil 8"/>
          <p:cNvCxnSpPr/>
          <p:nvPr/>
        </p:nvCxnSpPr>
        <p:spPr bwMode="auto">
          <a:xfrm>
            <a:off x="1350219" y="4331940"/>
            <a:ext cx="734481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feld 9"/>
          <p:cNvSpPr txBox="1"/>
          <p:nvPr/>
        </p:nvSpPr>
        <p:spPr>
          <a:xfrm>
            <a:off x="1350219" y="4116496"/>
            <a:ext cx="1392754" cy="215444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Verkehrszeitraum</a:t>
            </a:r>
          </a:p>
        </p:txBody>
      </p:sp>
      <p:sp>
        <p:nvSpPr>
          <p:cNvPr id="12" name="Geschweifte Klammer links 11"/>
          <p:cNvSpPr/>
          <p:nvPr/>
        </p:nvSpPr>
        <p:spPr bwMode="auto">
          <a:xfrm rot="5400000">
            <a:off x="2194037" y="2053242"/>
            <a:ext cx="228327" cy="388292"/>
          </a:xfrm>
          <a:prstGeom prst="leftBrace">
            <a:avLst>
              <a:gd name="adj1" fmla="val 29192"/>
              <a:gd name="adj2" fmla="val 50000"/>
            </a:avLst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extfeld 16"/>
          <p:cNvSpPr txBox="1"/>
          <p:nvPr/>
        </p:nvSpPr>
        <p:spPr>
          <a:xfrm>
            <a:off x="2014048" y="1844824"/>
            <a:ext cx="58830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Konflikt</a:t>
            </a:r>
          </a:p>
        </p:txBody>
      </p:sp>
      <p:sp>
        <p:nvSpPr>
          <p:cNvPr id="20" name="Rectangle 6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602246" y="4941168"/>
            <a:ext cx="6840760" cy="432048"/>
          </a:xfrm>
          <a:prstGeom prst="rect">
            <a:avLst/>
          </a:prstGeom>
          <a:ln w="9525">
            <a:solidFill>
              <a:srgbClr val="C8CDD2"/>
            </a:solidFill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de-DE" b="1" dirty="0" smtClean="0">
                <a:solidFill>
                  <a:srgbClr val="000000"/>
                </a:solidFill>
                <a:latin typeface="DB Office"/>
              </a:rPr>
              <a:t>Neue Wegesuche nur für Fahrlagen 1 und 2 – nicht für </a:t>
            </a:r>
            <a:r>
              <a:rPr lang="de-DE" b="1" dirty="0" err="1" smtClean="0">
                <a:solidFill>
                  <a:srgbClr val="000000"/>
                </a:solidFill>
                <a:latin typeface="DB Office"/>
              </a:rPr>
              <a:t>Fahrlage</a:t>
            </a:r>
            <a:r>
              <a:rPr lang="de-DE" b="1" dirty="0" smtClean="0">
                <a:solidFill>
                  <a:srgbClr val="000000"/>
                </a:solidFill>
                <a:latin typeface="DB Office"/>
              </a:rPr>
              <a:t> 3 – notwendig </a:t>
            </a:r>
          </a:p>
        </p:txBody>
      </p:sp>
    </p:spTree>
    <p:extLst>
      <p:ext uri="{BB962C8B-B14F-4D97-AF65-F5344CB8AC3E}">
        <p14:creationId xmlns:p14="http://schemas.microsoft.com/office/powerpoint/2010/main" val="3421754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ögliche Anpassung des Ablaufs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Patrick Breun, Jordis Wächter | Dresden | 18.12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de-DE" dirty="0"/>
          </a:p>
        </p:txBody>
      </p:sp>
      <p:pic>
        <p:nvPicPr>
          <p:cNvPr id="13314" name="Picture 2" descr="D:\Users\PatrickBreun\Downloads\image2017-12-13 8_21_11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520" r="50000"/>
          <a:stretch/>
        </p:blipFill>
        <p:spPr bwMode="auto">
          <a:xfrm>
            <a:off x="486123" y="1196752"/>
            <a:ext cx="4313155" cy="1844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5" name="Picture 3" descr="D:\Users\PatrickBreun\Downloads\image2017-12-13 8_21_55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8451" y="2780928"/>
            <a:ext cx="6335713" cy="326707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Gerade Verbindung 5"/>
          <p:cNvCxnSpPr/>
          <p:nvPr/>
        </p:nvCxnSpPr>
        <p:spPr bwMode="auto">
          <a:xfrm flipV="1">
            <a:off x="3438451" y="1988840"/>
            <a:ext cx="216024" cy="7920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Gerade Verbindung 9"/>
          <p:cNvCxnSpPr/>
          <p:nvPr/>
        </p:nvCxnSpPr>
        <p:spPr bwMode="auto">
          <a:xfrm flipH="1" flipV="1">
            <a:off x="4014515" y="1628800"/>
            <a:ext cx="5759650" cy="115212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Rechteckige Legende 13"/>
          <p:cNvSpPr/>
          <p:nvPr/>
        </p:nvSpPr>
        <p:spPr bwMode="auto">
          <a:xfrm>
            <a:off x="320329" y="4414465"/>
            <a:ext cx="2736304" cy="1754907"/>
          </a:xfrm>
          <a:prstGeom prst="wedgeRectCallout">
            <a:avLst>
              <a:gd name="adj1" fmla="val 90301"/>
              <a:gd name="adj2" fmla="val -21573"/>
            </a:avLst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TBD: </a:t>
            </a:r>
            <a:r>
              <a:rPr lang="de-DE" sz="1200" dirty="0">
                <a:solidFill>
                  <a:srgbClr val="FFFFFF"/>
                </a:solidFill>
                <a:latin typeface="DB Office" pitchFamily="34" charset="0"/>
              </a:rPr>
              <a:t>Integration Homogenitätskennzahl</a:t>
            </a:r>
            <a:br>
              <a:rPr lang="de-DE" sz="1200" dirty="0">
                <a:solidFill>
                  <a:srgbClr val="FFFFFF"/>
                </a:solidFill>
                <a:latin typeface="DB Office" pitchFamily="34" charset="0"/>
              </a:rPr>
            </a:br>
            <a:r>
              <a:rPr lang="de-DE" sz="1200" dirty="0">
                <a:solidFill>
                  <a:srgbClr val="FFFFFF"/>
                </a:solidFill>
                <a:latin typeface="DB Office" pitchFamily="34" charset="0"/>
              </a:rPr>
              <a:t>(Aber: Wenn Post-Optimierung nur auf Basis der in der Lösung genutzten Partitionen stattfindet, d.h. nur für die </a:t>
            </a:r>
            <a:r>
              <a:rPr lang="de-DE" sz="1200" dirty="0" smtClean="0">
                <a:solidFill>
                  <a:srgbClr val="FFFFFF"/>
                </a:solidFill>
                <a:latin typeface="DB Office" pitchFamily="34" charset="0"/>
              </a:rPr>
              <a:t>enthaltenen Fahrlagenvarianten </a:t>
            </a:r>
            <a:r>
              <a:rPr lang="de-DE" sz="1200" dirty="0">
                <a:solidFill>
                  <a:srgbClr val="FFFFFF"/>
                </a:solidFill>
                <a:latin typeface="DB Office" pitchFamily="34" charset="0"/>
              </a:rPr>
              <a:t>neue Wege gesucht werden, ändert sich Homogenitätskennzahl nicht)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9057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Agenda</a:t>
            </a:r>
            <a:endParaRPr lang="de-DE" dirty="0"/>
          </a:p>
        </p:txBody>
      </p:sp>
      <p:sp>
        <p:nvSpPr>
          <p:cNvPr id="78" name="Foliennummernplatzhalter 7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 smtClean="0"/>
              <a:t>DB Netz AG | Patrick </a:t>
            </a:r>
            <a:r>
              <a:rPr lang="de-DE" dirty="0" err="1" smtClean="0"/>
              <a:t>Breun</a:t>
            </a:r>
            <a:r>
              <a:rPr lang="de-DE" dirty="0" smtClean="0"/>
              <a:t>, Jordis Wächter | Dresden | 18.12.2017</a:t>
            </a:r>
            <a:endParaRPr lang="de-DE" dirty="0"/>
          </a:p>
        </p:txBody>
      </p:sp>
      <p:grpSp>
        <p:nvGrpSpPr>
          <p:cNvPr id="5" name="easyAgenda"/>
          <p:cNvGrpSpPr/>
          <p:nvPr/>
        </p:nvGrpSpPr>
        <p:grpSpPr>
          <a:xfrm>
            <a:off x="1929323" y="2492442"/>
            <a:ext cx="5540429" cy="2161214"/>
            <a:chOff x="1929323" y="3500542"/>
            <a:chExt cx="5540429" cy="2161214"/>
          </a:xfrm>
        </p:grpSpPr>
        <p:sp>
          <p:nvSpPr>
            <p:cNvPr id="15" name="2_Rahmen"/>
            <p:cNvSpPr/>
            <p:nvPr>
              <p:custDataLst>
                <p:tags r:id="rId3"/>
              </p:custDataLst>
            </p:nvPr>
          </p:nvSpPr>
          <p:spPr bwMode="gray">
            <a:xfrm>
              <a:off x="1929323" y="3500542"/>
              <a:ext cx="1007641" cy="2161214"/>
            </a:xfrm>
            <a:prstGeom prst="rect">
              <a:avLst/>
            </a:prstGeom>
            <a:solidFill>
              <a:srgbClr val="878C96"/>
            </a:solidFill>
            <a:ln w="9525" cap="flat" cmpd="sng" algn="ctr">
              <a:solidFill>
                <a:srgbClr val="878C96"/>
              </a:solidFill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4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0_Inhalt_Ebene1"/>
            <p:cNvSpPr/>
            <p:nvPr>
              <p:custDataLst>
                <p:tags r:id="rId4"/>
              </p:custDataLst>
            </p:nvPr>
          </p:nvSpPr>
          <p:spPr bwMode="gray">
            <a:xfrm>
              <a:off x="2433143" y="3646220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Offene Fragen / Diskussionsthemen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18" name="0_Seiten_Ebene1"/>
            <p:cNvSpPr txBox="1"/>
            <p:nvPr/>
          </p:nvSpPr>
          <p:spPr bwMode="gray">
            <a:xfrm>
              <a:off x="6965994" y="3716573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25" name="2_Inhalt_Ebene1"/>
            <p:cNvSpPr/>
            <p:nvPr>
              <p:custDataLst>
                <p:tags r:id="rId5"/>
              </p:custDataLst>
            </p:nvPr>
          </p:nvSpPr>
          <p:spPr bwMode="gray">
            <a:xfrm>
              <a:off x="2433143" y="4942872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Beispiel Modellformulierun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6" name="1_Inhalt_Ebene1_Highlight"/>
            <p:cNvSpPr/>
            <p:nvPr>
              <p:custDataLst>
                <p:tags r:id="rId6"/>
              </p:custDataLst>
            </p:nvPr>
          </p:nvSpPr>
          <p:spPr bwMode="gray">
            <a:xfrm>
              <a:off x="2433144" y="4294546"/>
              <a:ext cx="5036608" cy="576326"/>
            </a:xfrm>
            <a:prstGeom prst="rect">
              <a:avLst/>
            </a:prstGeom>
            <a:solidFill>
              <a:srgbClr val="E1E6EB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000000"/>
                  </a:solidFill>
                </a:rPr>
                <a:t>Analyse der Fahrlagen</a:t>
              </a:r>
              <a:endParaRPr lang="de-DE" sz="1600" b="1" dirty="0">
                <a:solidFill>
                  <a:srgbClr val="000000"/>
                </a:solidFill>
              </a:endParaRPr>
            </a:p>
          </p:txBody>
        </p:sp>
        <p:sp>
          <p:nvSpPr>
            <p:cNvPr id="29" name="2_Seiten_Ebene1"/>
            <p:cNvSpPr txBox="1"/>
            <p:nvPr/>
          </p:nvSpPr>
          <p:spPr bwMode="gray">
            <a:xfrm>
              <a:off x="6965994" y="5013225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0" name="1_Seiten_Ebene1_Highlight"/>
            <p:cNvSpPr txBox="1"/>
            <p:nvPr/>
          </p:nvSpPr>
          <p:spPr bwMode="gray">
            <a:xfrm>
              <a:off x="6965994" y="4360359"/>
              <a:ext cx="503758" cy="432000"/>
            </a:xfrm>
            <a:prstGeom prst="rect">
              <a:avLst/>
            </a:prstGeom>
            <a:noFill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b="1" dirty="0">
                <a:solidFill>
                  <a:srgbClr val="000000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159817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blauf SAT-Modell in der ganzjährigen Belegung (1/X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Patrick Breun, Jordis Wächter | Dresden | 19.12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70099" y="3356992"/>
            <a:ext cx="2808312" cy="496409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effectLst/>
                <a:latin typeface="DB Office" pitchFamily="34" charset="0"/>
              </a:rPr>
              <a:t>Fahrlagen, Systemtrassen un</a:t>
            </a:r>
            <a:r>
              <a:rPr lang="de-DE" sz="1200" dirty="0" smtClean="0">
                <a:latin typeface="DB Office" pitchFamily="34" charset="0"/>
              </a:rPr>
              <a:t>d Schneideregeln</a:t>
            </a:r>
            <a:r>
              <a:rPr kumimoji="0" lang="de-DE" sz="1200" b="0" i="0" u="none" strike="noStrike" cap="none" normalizeH="0" baseline="0" dirty="0" smtClean="0">
                <a:ln>
                  <a:noFill/>
                </a:ln>
                <a:effectLst/>
                <a:latin typeface="DB Office" pitchFamily="34" charset="0"/>
              </a:rPr>
              <a:t> laden</a:t>
            </a:r>
          </a:p>
        </p:txBody>
      </p:sp>
      <p:cxnSp>
        <p:nvCxnSpPr>
          <p:cNvPr id="15" name="Gerade Verbindung mit Pfeil 14"/>
          <p:cNvCxnSpPr>
            <a:stCxn id="12" idx="2"/>
          </p:cNvCxnSpPr>
          <p:nvPr/>
        </p:nvCxnSpPr>
        <p:spPr bwMode="auto">
          <a:xfrm>
            <a:off x="1674255" y="3853401"/>
            <a:ext cx="0" cy="252792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18" name="Tabel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0229648"/>
              </p:ext>
            </p:extLst>
          </p:nvPr>
        </p:nvGraphicFramePr>
        <p:xfrm>
          <a:off x="4494179" y="1753967"/>
          <a:ext cx="3300685" cy="100584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924421"/>
                <a:gridCol w="1296144"/>
                <a:gridCol w="504056"/>
                <a:gridCol w="576064"/>
              </a:tblGrid>
              <a:tr h="353341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Fahrlagen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smtClean="0"/>
                        <a:t>Verkehrstages-schlüss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von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nach</a:t>
                      </a:r>
                      <a:endParaRPr lang="de-DE" sz="1200" dirty="0"/>
                    </a:p>
                  </a:txBody>
                  <a:tcPr anchor="ctr"/>
                </a:tc>
              </a:tr>
              <a:tr h="217120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r</a:t>
                      </a:r>
                      <a:r>
                        <a:rPr lang="de-DE" sz="1200" baseline="-25000" dirty="0" smtClean="0"/>
                        <a:t>1</a:t>
                      </a:r>
                      <a:endParaRPr lang="de-DE" sz="1200" baseline="-25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(1,1,0)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Q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S</a:t>
                      </a:r>
                      <a:endParaRPr lang="de-DE" sz="1200" dirty="0"/>
                    </a:p>
                  </a:txBody>
                  <a:tcPr anchor="ctr"/>
                </a:tc>
              </a:tr>
              <a:tr h="217120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r</a:t>
                      </a:r>
                      <a:r>
                        <a:rPr lang="de-DE" sz="1200" baseline="-25000" dirty="0" smtClean="0"/>
                        <a:t>2</a:t>
                      </a:r>
                      <a:endParaRPr lang="de-DE" sz="1200" baseline="-25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(0,1,1)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Q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S</a:t>
                      </a:r>
                      <a:endParaRPr lang="de-DE" sz="1200" dirty="0"/>
                    </a:p>
                  </a:txBody>
                  <a:tcPr anchor="ctr"/>
                </a:tc>
              </a:tr>
            </a:tbl>
          </a:graphicData>
        </a:graphic>
      </p:graphicFrame>
      <p:grpSp>
        <p:nvGrpSpPr>
          <p:cNvPr id="35" name="Gruppieren 34"/>
          <p:cNvGrpSpPr/>
          <p:nvPr/>
        </p:nvGrpSpPr>
        <p:grpSpPr>
          <a:xfrm>
            <a:off x="6678740" y="3894205"/>
            <a:ext cx="2147274" cy="2344907"/>
            <a:chOff x="7950308" y="1171328"/>
            <a:chExt cx="1419725" cy="1385525"/>
          </a:xfrm>
        </p:grpSpPr>
        <p:cxnSp>
          <p:nvCxnSpPr>
            <p:cNvPr id="36" name="Gerade Verbindung mit Pfeil 35"/>
            <p:cNvCxnSpPr/>
            <p:nvPr/>
          </p:nvCxnSpPr>
          <p:spPr bwMode="auto">
            <a:xfrm>
              <a:off x="8479109" y="1299096"/>
              <a:ext cx="0" cy="1130115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/>
          </p:nvCxnSpPr>
          <p:spPr bwMode="auto">
            <a:xfrm>
              <a:off x="8479109" y="1299096"/>
              <a:ext cx="469819" cy="513183"/>
            </a:xfrm>
            <a:prstGeom prst="line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mit Pfeil 37"/>
            <p:cNvCxnSpPr/>
            <p:nvPr/>
          </p:nvCxnSpPr>
          <p:spPr bwMode="auto">
            <a:xfrm flipH="1">
              <a:off x="8492221" y="1812279"/>
              <a:ext cx="456706" cy="616932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9" name="Textfeld 38"/>
            <p:cNvSpPr txBox="1"/>
            <p:nvPr/>
          </p:nvSpPr>
          <p:spPr>
            <a:xfrm>
              <a:off x="8132171" y="1171328"/>
              <a:ext cx="720100" cy="1091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Quelle (Q)</a:t>
              </a:r>
            </a:p>
          </p:txBody>
        </p:sp>
        <p:sp>
          <p:nvSpPr>
            <p:cNvPr id="40" name="Textfeld 39"/>
            <p:cNvSpPr txBox="1"/>
            <p:nvPr/>
          </p:nvSpPr>
          <p:spPr>
            <a:xfrm>
              <a:off x="8132171" y="2447740"/>
              <a:ext cx="720100" cy="1091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Senke (S)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1" name="Textfeld 40"/>
                <p:cNvSpPr txBox="1"/>
                <p:nvPr/>
              </p:nvSpPr>
              <p:spPr>
                <a:xfrm>
                  <a:off x="7950308" y="1714828"/>
                  <a:ext cx="560532" cy="21822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 Math"/>
                  </a:endParaRPr>
                </a:p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</m:t>
                            </m:r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,</m:t>
                            </m:r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</m:t>
                            </m:r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,</m:t>
                            </m:r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</m:t>
                            </m:r>
                          </m:e>
                        </m:d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41" name="Textfeld 4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50308" y="1714828"/>
                  <a:ext cx="560532" cy="218226"/>
                </a:xfrm>
                <a:prstGeom prst="rect">
                  <a:avLst/>
                </a:prstGeom>
                <a:blipFill rotWithShape="1">
                  <a:blip r:embed="rId3"/>
                  <a:stretch>
                    <a:fillRect b="-333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2" name="Textfeld 41"/>
                <p:cNvSpPr txBox="1"/>
                <p:nvPr/>
              </p:nvSpPr>
              <p:spPr>
                <a:xfrm>
                  <a:off x="8853713" y="1720319"/>
                  <a:ext cx="516320" cy="21822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rPr>
                    <a:t>(1,1,0)</a:t>
                  </a:r>
                </a:p>
              </p:txBody>
            </p:sp>
          </mc:Choice>
          <mc:Fallback xmlns="">
            <p:sp>
              <p:nvSpPr>
                <p:cNvPr id="42" name="Textfeld 4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853713" y="1720319"/>
                  <a:ext cx="516320" cy="218226"/>
                </a:xfrm>
                <a:prstGeom prst="rect">
                  <a:avLst/>
                </a:prstGeom>
                <a:blipFill rotWithShape="1">
                  <a:blip r:embed="rId4"/>
                  <a:stretch>
                    <a:fillRect b="-22951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graphicFrame>
        <p:nvGraphicFramePr>
          <p:cNvPr id="48" name="Tabelle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9678284"/>
              </p:ext>
            </p:extLst>
          </p:nvPr>
        </p:nvGraphicFramePr>
        <p:xfrm>
          <a:off x="4480834" y="2941327"/>
          <a:ext cx="4286209" cy="62766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296146"/>
                <a:gridCol w="1261871"/>
                <a:gridCol w="1728192"/>
              </a:tblGrid>
              <a:tr h="353341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Schneideregel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smtClean="0"/>
                        <a:t>Bit-Schlüss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Beschreibung</a:t>
                      </a:r>
                      <a:endParaRPr lang="de-DE" sz="1200" dirty="0"/>
                    </a:p>
                  </a:txBody>
                  <a:tcPr anchor="ctr"/>
                </a:tc>
              </a:tr>
              <a:tr h="217120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Nr. 1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(1,0,0) / (0,1,1)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Zwischen Tag 1</a:t>
                      </a:r>
                      <a:r>
                        <a:rPr lang="de-DE" sz="1200" baseline="0" dirty="0" smtClean="0"/>
                        <a:t> und 2</a:t>
                      </a:r>
                      <a:endParaRPr lang="de-DE" sz="120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50" name="Rectangle 48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4626512" y="4544708"/>
            <a:ext cx="2006861" cy="95632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maximaler BFQ= 2</a:t>
            </a:r>
          </a:p>
          <a:p>
            <a:pPr lvl="1"/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tatsächlicher BFQ :</a:t>
            </a:r>
          </a:p>
          <a:p>
            <a:pPr lvl="2"/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Weg über s</a:t>
            </a:r>
            <a:r>
              <a:rPr lang="de-DE" sz="1200" baseline="-25000" dirty="0" smtClean="0">
                <a:solidFill>
                  <a:srgbClr val="000000"/>
                </a:solidFill>
                <a:latin typeface="DB Office"/>
              </a:rPr>
              <a:t>1</a:t>
            </a:r>
            <a:r>
              <a:rPr lang="de-DE" sz="1200" i="1" dirty="0" smtClean="0">
                <a:solidFill>
                  <a:srgbClr val="000000"/>
                </a:solidFill>
                <a:latin typeface="DB Office"/>
              </a:rPr>
              <a:t> </a:t>
            </a: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= 1,3</a:t>
            </a:r>
          </a:p>
          <a:p>
            <a:pPr lvl="2"/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Weg über s</a:t>
            </a:r>
            <a:r>
              <a:rPr lang="de-DE" sz="1200" baseline="-25000" dirty="0" smtClean="0">
                <a:solidFill>
                  <a:srgbClr val="000000"/>
                </a:solidFill>
                <a:latin typeface="DB Office"/>
              </a:rPr>
              <a:t>2</a:t>
            </a:r>
            <a:r>
              <a:rPr lang="de-DE" sz="1200" i="1" dirty="0" smtClean="0">
                <a:solidFill>
                  <a:srgbClr val="000000"/>
                </a:solidFill>
                <a:latin typeface="DB Office"/>
              </a:rPr>
              <a:t> </a:t>
            </a: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= 1,5</a:t>
            </a:r>
            <a:endParaRPr lang="de-DE" sz="1200" dirty="0">
              <a:solidFill>
                <a:srgbClr val="000000"/>
              </a:solidFill>
              <a:latin typeface="DB Office"/>
            </a:endParaRPr>
          </a:p>
        </p:txBody>
      </p:sp>
    </p:spTree>
    <p:extLst>
      <p:ext uri="{BB962C8B-B14F-4D97-AF65-F5344CB8AC3E}">
        <p14:creationId xmlns:p14="http://schemas.microsoft.com/office/powerpoint/2010/main" val="2371457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s der Überlagerung der Top-20 Verkehrszeiträume ergeben sich 20 unterschiedliche Zustände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Patrick Breun, Jordis Wächter | Dresden | 18.12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de-DE" dirty="0"/>
          </a:p>
        </p:txBody>
      </p:sp>
      <p:cxnSp>
        <p:nvCxnSpPr>
          <p:cNvPr id="5" name="Gerade Verbindung mit Pfeil 4"/>
          <p:cNvCxnSpPr/>
          <p:nvPr/>
        </p:nvCxnSpPr>
        <p:spPr bwMode="auto">
          <a:xfrm>
            <a:off x="654319" y="1700804"/>
            <a:ext cx="806512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Rechteck 5"/>
          <p:cNvSpPr/>
          <p:nvPr/>
        </p:nvSpPr>
        <p:spPr bwMode="auto">
          <a:xfrm>
            <a:off x="657791" y="2269532"/>
            <a:ext cx="8047533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648191" y="1909481"/>
            <a:ext cx="3672510" cy="216317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rgbClr val="FF0000"/>
              </a:solidFill>
              <a:effectLst/>
              <a:latin typeface="DB Office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4230688" y="1399061"/>
            <a:ext cx="1800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24</a:t>
            </a:r>
            <a:endParaRPr lang="de-DE" dirty="0" smtClean="0"/>
          </a:p>
        </p:txBody>
      </p:sp>
      <p:cxnSp>
        <p:nvCxnSpPr>
          <p:cNvPr id="9" name="Gerade Verbindung 8"/>
          <p:cNvCxnSpPr/>
          <p:nvPr/>
        </p:nvCxnSpPr>
        <p:spPr bwMode="auto">
          <a:xfrm>
            <a:off x="648190" y="1585754"/>
            <a:ext cx="0" cy="21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Gerade Verbindung 9"/>
          <p:cNvCxnSpPr/>
          <p:nvPr/>
        </p:nvCxnSpPr>
        <p:spPr bwMode="auto">
          <a:xfrm>
            <a:off x="2145998" y="1585754"/>
            <a:ext cx="0" cy="21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rade Verbindung 10"/>
          <p:cNvCxnSpPr/>
          <p:nvPr/>
        </p:nvCxnSpPr>
        <p:spPr bwMode="auto">
          <a:xfrm>
            <a:off x="3662771" y="1585754"/>
            <a:ext cx="0" cy="21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Gerade Verbindung 11"/>
          <p:cNvCxnSpPr/>
          <p:nvPr/>
        </p:nvCxnSpPr>
        <p:spPr bwMode="auto">
          <a:xfrm>
            <a:off x="5141614" y="1585754"/>
            <a:ext cx="0" cy="21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Gerade Verbindung 12"/>
          <p:cNvCxnSpPr/>
          <p:nvPr/>
        </p:nvCxnSpPr>
        <p:spPr bwMode="auto">
          <a:xfrm>
            <a:off x="8137230" y="1585754"/>
            <a:ext cx="0" cy="21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Gerade Verbindung 13"/>
          <p:cNvCxnSpPr/>
          <p:nvPr/>
        </p:nvCxnSpPr>
        <p:spPr bwMode="auto">
          <a:xfrm>
            <a:off x="4320701" y="1619859"/>
            <a:ext cx="0" cy="21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Gerade Verbindung 14"/>
          <p:cNvCxnSpPr/>
          <p:nvPr/>
        </p:nvCxnSpPr>
        <p:spPr bwMode="auto">
          <a:xfrm>
            <a:off x="5910933" y="1628824"/>
            <a:ext cx="0" cy="21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Gerade Verbindung 15"/>
          <p:cNvCxnSpPr/>
          <p:nvPr/>
        </p:nvCxnSpPr>
        <p:spPr bwMode="auto">
          <a:xfrm>
            <a:off x="6657492" y="1619859"/>
            <a:ext cx="0" cy="21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Gerade Verbindung 16"/>
          <p:cNvCxnSpPr/>
          <p:nvPr/>
        </p:nvCxnSpPr>
        <p:spPr bwMode="auto">
          <a:xfrm>
            <a:off x="8569290" y="1579861"/>
            <a:ext cx="0" cy="21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feld 17"/>
          <p:cNvSpPr txBox="1"/>
          <p:nvPr/>
        </p:nvSpPr>
        <p:spPr>
          <a:xfrm>
            <a:off x="630139" y="1399061"/>
            <a:ext cx="1315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1</a:t>
            </a:r>
            <a:endParaRPr lang="de-DE" dirty="0" smtClean="0"/>
          </a:p>
        </p:txBody>
      </p:sp>
      <p:sp>
        <p:nvSpPr>
          <p:cNvPr id="19" name="Rechteck 18"/>
          <p:cNvSpPr/>
          <p:nvPr/>
        </p:nvSpPr>
        <p:spPr bwMode="auto">
          <a:xfrm>
            <a:off x="4320701" y="1909480"/>
            <a:ext cx="1584219" cy="216317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0" name="Rechteck 19"/>
          <p:cNvSpPr/>
          <p:nvPr/>
        </p:nvSpPr>
        <p:spPr bwMode="auto">
          <a:xfrm>
            <a:off x="5904920" y="1909479"/>
            <a:ext cx="792109" cy="21631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1" name="Rechteck 20"/>
          <p:cNvSpPr/>
          <p:nvPr/>
        </p:nvSpPr>
        <p:spPr bwMode="auto">
          <a:xfrm>
            <a:off x="6697029" y="1909478"/>
            <a:ext cx="2016281" cy="216317"/>
          </a:xfrm>
          <a:prstGeom prst="rect">
            <a:avLst/>
          </a:prstGeom>
          <a:solidFill>
            <a:schemeClr val="accent1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5802481" y="1399061"/>
            <a:ext cx="1744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36</a:t>
            </a:r>
            <a:endParaRPr lang="de-DE" dirty="0" smtClean="0"/>
          </a:p>
        </p:txBody>
      </p:sp>
      <p:sp>
        <p:nvSpPr>
          <p:cNvPr id="23" name="Textfeld 22"/>
          <p:cNvSpPr txBox="1"/>
          <p:nvPr/>
        </p:nvSpPr>
        <p:spPr>
          <a:xfrm>
            <a:off x="6569507" y="1399061"/>
            <a:ext cx="2408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41</a:t>
            </a:r>
            <a:endParaRPr lang="de-DE" dirty="0" smtClean="0"/>
          </a:p>
        </p:txBody>
      </p:sp>
      <p:sp>
        <p:nvSpPr>
          <p:cNvPr id="24" name="Textfeld 23"/>
          <p:cNvSpPr txBox="1"/>
          <p:nvPr/>
        </p:nvSpPr>
        <p:spPr>
          <a:xfrm>
            <a:off x="8785208" y="1579861"/>
            <a:ext cx="84604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 smtClean="0"/>
              <a:t>Wochen</a:t>
            </a:r>
          </a:p>
        </p:txBody>
      </p:sp>
      <p:sp>
        <p:nvSpPr>
          <p:cNvPr id="25" name="Rechteck 24"/>
          <p:cNvSpPr/>
          <p:nvPr/>
        </p:nvSpPr>
        <p:spPr bwMode="auto">
          <a:xfrm>
            <a:off x="6509650" y="2468225"/>
            <a:ext cx="2192523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8448873" y="1399061"/>
            <a:ext cx="2408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53</a:t>
            </a:r>
            <a:endParaRPr lang="de-DE" dirty="0" smtClean="0"/>
          </a:p>
        </p:txBody>
      </p:sp>
      <p:sp>
        <p:nvSpPr>
          <p:cNvPr id="27" name="Textfeld 26"/>
          <p:cNvSpPr txBox="1"/>
          <p:nvPr/>
        </p:nvSpPr>
        <p:spPr>
          <a:xfrm>
            <a:off x="8050005" y="1399061"/>
            <a:ext cx="1744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50</a:t>
            </a:r>
            <a:endParaRPr lang="de-DE" dirty="0" smtClean="0"/>
          </a:p>
        </p:txBody>
      </p:sp>
      <p:sp>
        <p:nvSpPr>
          <p:cNvPr id="28" name="Textfeld 27"/>
          <p:cNvSpPr txBox="1"/>
          <p:nvPr/>
        </p:nvSpPr>
        <p:spPr>
          <a:xfrm>
            <a:off x="3572758" y="1399061"/>
            <a:ext cx="1800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20</a:t>
            </a:r>
            <a:endParaRPr lang="de-DE" dirty="0" smtClean="0"/>
          </a:p>
        </p:txBody>
      </p:sp>
      <p:sp>
        <p:nvSpPr>
          <p:cNvPr id="29" name="Textfeld 28"/>
          <p:cNvSpPr txBox="1"/>
          <p:nvPr/>
        </p:nvSpPr>
        <p:spPr>
          <a:xfrm>
            <a:off x="5051601" y="1399061"/>
            <a:ext cx="1800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30</a:t>
            </a:r>
            <a:endParaRPr lang="de-DE" dirty="0" smtClean="0"/>
          </a:p>
        </p:txBody>
      </p:sp>
      <p:sp>
        <p:nvSpPr>
          <p:cNvPr id="30" name="Textfeld 29"/>
          <p:cNvSpPr txBox="1"/>
          <p:nvPr/>
        </p:nvSpPr>
        <p:spPr>
          <a:xfrm>
            <a:off x="2055985" y="1399061"/>
            <a:ext cx="1800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10</a:t>
            </a:r>
            <a:endParaRPr lang="de-DE" dirty="0" smtClean="0"/>
          </a:p>
        </p:txBody>
      </p:sp>
      <p:sp>
        <p:nvSpPr>
          <p:cNvPr id="31" name="Rechteck 30"/>
          <p:cNvSpPr/>
          <p:nvPr/>
        </p:nvSpPr>
        <p:spPr bwMode="auto">
          <a:xfrm>
            <a:off x="2911585" y="2666918"/>
            <a:ext cx="367976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2" name="Rechteck 31"/>
          <p:cNvSpPr/>
          <p:nvPr/>
        </p:nvSpPr>
        <p:spPr bwMode="auto">
          <a:xfrm>
            <a:off x="654318" y="2865611"/>
            <a:ext cx="2257267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3" name="Rechteck 32"/>
          <p:cNvSpPr/>
          <p:nvPr/>
        </p:nvSpPr>
        <p:spPr bwMode="auto">
          <a:xfrm>
            <a:off x="5904920" y="3064304"/>
            <a:ext cx="792109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4" name="Rechteck 33"/>
          <p:cNvSpPr/>
          <p:nvPr/>
        </p:nvSpPr>
        <p:spPr bwMode="auto">
          <a:xfrm>
            <a:off x="6982129" y="3262997"/>
            <a:ext cx="1720043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5" name="Rechteck 34"/>
          <p:cNvSpPr/>
          <p:nvPr/>
        </p:nvSpPr>
        <p:spPr bwMode="auto">
          <a:xfrm>
            <a:off x="657792" y="3660383"/>
            <a:ext cx="5253140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6" name="Rechteck 35"/>
          <p:cNvSpPr/>
          <p:nvPr/>
        </p:nvSpPr>
        <p:spPr bwMode="auto">
          <a:xfrm>
            <a:off x="657792" y="3859076"/>
            <a:ext cx="2437781" cy="102591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7" name="Rechteck 36"/>
          <p:cNvSpPr/>
          <p:nvPr/>
        </p:nvSpPr>
        <p:spPr bwMode="auto">
          <a:xfrm>
            <a:off x="3095573" y="4052202"/>
            <a:ext cx="3591900" cy="102591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8" name="Rechteck 37"/>
          <p:cNvSpPr/>
          <p:nvPr/>
        </p:nvSpPr>
        <p:spPr bwMode="auto">
          <a:xfrm>
            <a:off x="654319" y="4245328"/>
            <a:ext cx="3008451" cy="102591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endParaRPr lang="de-DE" dirty="0" err="1"/>
          </a:p>
        </p:txBody>
      </p:sp>
      <p:sp>
        <p:nvSpPr>
          <p:cNvPr id="39" name="Rechteck 38"/>
          <p:cNvSpPr/>
          <p:nvPr/>
        </p:nvSpPr>
        <p:spPr bwMode="auto">
          <a:xfrm>
            <a:off x="6509650" y="3461690"/>
            <a:ext cx="691450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40" name="Rechteck 39"/>
          <p:cNvSpPr/>
          <p:nvPr/>
        </p:nvSpPr>
        <p:spPr bwMode="auto">
          <a:xfrm>
            <a:off x="7605911" y="4438454"/>
            <a:ext cx="1099414" cy="102591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41" name="Rechteck 40"/>
          <p:cNvSpPr/>
          <p:nvPr/>
        </p:nvSpPr>
        <p:spPr bwMode="auto">
          <a:xfrm>
            <a:off x="654318" y="4631580"/>
            <a:ext cx="4487296" cy="102591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42" name="Rechteck 41"/>
          <p:cNvSpPr/>
          <p:nvPr/>
        </p:nvSpPr>
        <p:spPr bwMode="auto">
          <a:xfrm>
            <a:off x="654316" y="4824706"/>
            <a:ext cx="5754674" cy="102591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43" name="Rechteck 42"/>
          <p:cNvSpPr/>
          <p:nvPr/>
        </p:nvSpPr>
        <p:spPr bwMode="auto">
          <a:xfrm>
            <a:off x="7489140" y="5017832"/>
            <a:ext cx="1216185" cy="102591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44" name="Rechteck 43"/>
          <p:cNvSpPr/>
          <p:nvPr/>
        </p:nvSpPr>
        <p:spPr bwMode="auto">
          <a:xfrm>
            <a:off x="4978064" y="5210958"/>
            <a:ext cx="1144175" cy="102591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45" name="Rechteck 44"/>
          <p:cNvSpPr/>
          <p:nvPr/>
        </p:nvSpPr>
        <p:spPr bwMode="auto">
          <a:xfrm>
            <a:off x="6272955" y="5404084"/>
            <a:ext cx="1332956" cy="102591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46" name="Rechteck 45"/>
          <p:cNvSpPr/>
          <p:nvPr/>
        </p:nvSpPr>
        <p:spPr bwMode="auto">
          <a:xfrm>
            <a:off x="7859415" y="5597210"/>
            <a:ext cx="842757" cy="102591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47" name="Rechteck 46"/>
          <p:cNvSpPr/>
          <p:nvPr/>
        </p:nvSpPr>
        <p:spPr bwMode="auto">
          <a:xfrm>
            <a:off x="5904921" y="5790336"/>
            <a:ext cx="2802678" cy="102591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48" name="Rechteck 47"/>
          <p:cNvSpPr/>
          <p:nvPr/>
        </p:nvSpPr>
        <p:spPr bwMode="auto">
          <a:xfrm>
            <a:off x="7769196" y="5983963"/>
            <a:ext cx="936129" cy="102591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49" name="Gerade Verbindung 48"/>
          <p:cNvCxnSpPr/>
          <p:nvPr/>
        </p:nvCxnSpPr>
        <p:spPr bwMode="auto">
          <a:xfrm>
            <a:off x="6692898" y="1916471"/>
            <a:ext cx="0" cy="417689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0" name="Gerade Verbindung 49"/>
          <p:cNvCxnSpPr/>
          <p:nvPr/>
        </p:nvCxnSpPr>
        <p:spPr bwMode="auto">
          <a:xfrm>
            <a:off x="5904920" y="1909169"/>
            <a:ext cx="0" cy="417689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" name="Gerade Verbindung 50"/>
          <p:cNvCxnSpPr/>
          <p:nvPr/>
        </p:nvCxnSpPr>
        <p:spPr bwMode="auto">
          <a:xfrm>
            <a:off x="4320701" y="1909170"/>
            <a:ext cx="0" cy="417689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" name="Gerade Verbindung 51"/>
          <p:cNvCxnSpPr/>
          <p:nvPr/>
        </p:nvCxnSpPr>
        <p:spPr bwMode="auto">
          <a:xfrm>
            <a:off x="2914805" y="1916471"/>
            <a:ext cx="0" cy="1053363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Gerade Verbindung 52"/>
          <p:cNvCxnSpPr/>
          <p:nvPr/>
        </p:nvCxnSpPr>
        <p:spPr bwMode="auto">
          <a:xfrm>
            <a:off x="3276641" y="1909168"/>
            <a:ext cx="0" cy="858605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" name="Gerade Verbindung 53"/>
          <p:cNvCxnSpPr/>
          <p:nvPr/>
        </p:nvCxnSpPr>
        <p:spPr bwMode="auto">
          <a:xfrm>
            <a:off x="3095573" y="1916471"/>
            <a:ext cx="4322" cy="222227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Gerade Verbindung 54"/>
          <p:cNvCxnSpPr/>
          <p:nvPr/>
        </p:nvCxnSpPr>
        <p:spPr bwMode="auto">
          <a:xfrm>
            <a:off x="3658582" y="1909481"/>
            <a:ext cx="0" cy="242000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6" name="Gerade Verbindung 55"/>
          <p:cNvCxnSpPr>
            <a:stCxn id="19" idx="0"/>
          </p:cNvCxnSpPr>
          <p:nvPr/>
        </p:nvCxnSpPr>
        <p:spPr bwMode="auto">
          <a:xfrm>
            <a:off x="5112811" y="1909480"/>
            <a:ext cx="10020" cy="282469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" name="Gerade Verbindung 56"/>
          <p:cNvCxnSpPr/>
          <p:nvPr/>
        </p:nvCxnSpPr>
        <p:spPr bwMode="auto">
          <a:xfrm>
            <a:off x="4978064" y="1916471"/>
            <a:ext cx="10020" cy="3387583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8" name="Gerade Verbindung 57"/>
          <p:cNvCxnSpPr/>
          <p:nvPr/>
        </p:nvCxnSpPr>
        <p:spPr bwMode="auto">
          <a:xfrm>
            <a:off x="6101570" y="1915658"/>
            <a:ext cx="10020" cy="3387583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Gerade Verbindung 58"/>
          <p:cNvCxnSpPr/>
          <p:nvPr/>
        </p:nvCxnSpPr>
        <p:spPr bwMode="auto">
          <a:xfrm flipH="1">
            <a:off x="6397106" y="1909167"/>
            <a:ext cx="1223" cy="3018129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0" name="Gerade Verbindung 59"/>
          <p:cNvCxnSpPr/>
          <p:nvPr/>
        </p:nvCxnSpPr>
        <p:spPr bwMode="auto">
          <a:xfrm flipH="1">
            <a:off x="6519861" y="1909481"/>
            <a:ext cx="3147" cy="163040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Gerade Verbindung 60"/>
          <p:cNvCxnSpPr/>
          <p:nvPr/>
        </p:nvCxnSpPr>
        <p:spPr bwMode="auto">
          <a:xfrm flipH="1">
            <a:off x="7197954" y="1909167"/>
            <a:ext cx="3146" cy="1660643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2" name="Gerade Verbindung 61"/>
          <p:cNvCxnSpPr/>
          <p:nvPr/>
        </p:nvCxnSpPr>
        <p:spPr bwMode="auto">
          <a:xfrm flipH="1">
            <a:off x="6986542" y="1909481"/>
            <a:ext cx="3146" cy="1459753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Gerade Verbindung 62"/>
          <p:cNvCxnSpPr>
            <a:endCxn id="45" idx="3"/>
          </p:cNvCxnSpPr>
          <p:nvPr/>
        </p:nvCxnSpPr>
        <p:spPr bwMode="auto">
          <a:xfrm>
            <a:off x="7605911" y="1916470"/>
            <a:ext cx="0" cy="3582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4" name="Gerade Verbindung 63"/>
          <p:cNvCxnSpPr/>
          <p:nvPr/>
        </p:nvCxnSpPr>
        <p:spPr bwMode="auto">
          <a:xfrm>
            <a:off x="7489140" y="1909481"/>
            <a:ext cx="1" cy="321094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5" name="Gerade Verbindung 64"/>
          <p:cNvCxnSpPr/>
          <p:nvPr/>
        </p:nvCxnSpPr>
        <p:spPr bwMode="auto">
          <a:xfrm>
            <a:off x="7769196" y="1909167"/>
            <a:ext cx="0" cy="4158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6" name="Gerade Verbindung 65"/>
          <p:cNvCxnSpPr/>
          <p:nvPr/>
        </p:nvCxnSpPr>
        <p:spPr bwMode="auto">
          <a:xfrm>
            <a:off x="7861483" y="1909481"/>
            <a:ext cx="0" cy="379032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7" name="Rechteck 66"/>
          <p:cNvSpPr/>
          <p:nvPr/>
        </p:nvSpPr>
        <p:spPr bwMode="auto">
          <a:xfrm>
            <a:off x="270099" y="5085220"/>
            <a:ext cx="3674620" cy="13681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rPr>
              <a:t>Legende:</a:t>
            </a:r>
          </a:p>
          <a:p>
            <a:pPr marR="0" indent="355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 err="1" smtClean="0">
                <a:solidFill>
                  <a:schemeClr val="tx1"/>
                </a:solidFill>
                <a:latin typeface="DB Office" pitchFamily="34" charset="0"/>
              </a:rPr>
              <a:t>Fahrlage</a:t>
            </a:r>
            <a:endParaRPr lang="de-DE" sz="1400" dirty="0" smtClean="0">
              <a:solidFill>
                <a:schemeClr val="tx1"/>
              </a:solidFill>
              <a:latin typeface="DB Office" pitchFamily="34" charset="0"/>
            </a:endParaRPr>
          </a:p>
          <a:p>
            <a:pPr marL="355600"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 smtClean="0">
                <a:solidFill>
                  <a:schemeClr val="tx1"/>
                </a:solidFill>
                <a:latin typeface="DB Office" pitchFamily="34" charset="0"/>
              </a:rPr>
              <a:t>Systemtrasse mit Schneideregeln</a:t>
            </a:r>
          </a:p>
          <a:p>
            <a:pPr marL="355600"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 smtClean="0">
                <a:solidFill>
                  <a:schemeClr val="tx1"/>
                </a:solidFill>
                <a:latin typeface="DB Office" pitchFamily="34" charset="0"/>
              </a:rPr>
              <a:t>Start- bzw. Endzeitpunkt einer </a:t>
            </a:r>
            <a:r>
              <a:rPr lang="de-DE" sz="1400" dirty="0" err="1" smtClean="0">
                <a:solidFill>
                  <a:schemeClr val="tx1"/>
                </a:solidFill>
                <a:latin typeface="DB Office" pitchFamily="34" charset="0"/>
              </a:rPr>
              <a:t>Fahrlage</a:t>
            </a:r>
            <a:endParaRPr lang="de-DE" sz="1400" dirty="0" smtClean="0">
              <a:solidFill>
                <a:schemeClr val="tx1"/>
              </a:solidFill>
              <a:latin typeface="DB Office" pitchFamily="34" charset="0"/>
            </a:endParaRPr>
          </a:p>
          <a:p>
            <a:pPr marL="355600"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 smtClean="0">
                <a:solidFill>
                  <a:schemeClr val="tx1"/>
                </a:solidFill>
                <a:latin typeface="DB Office" pitchFamily="34" charset="0"/>
              </a:rPr>
              <a:t>Schneideregeln für Fahrlagen und Systemtrassen</a:t>
            </a:r>
            <a:endParaRPr lang="de-DE" sz="1400" dirty="0">
              <a:solidFill>
                <a:schemeClr val="tx1"/>
              </a:solidFill>
              <a:latin typeface="DB Office" pitchFamily="34" charset="0"/>
            </a:endParaRPr>
          </a:p>
        </p:txBody>
      </p:sp>
      <p:cxnSp>
        <p:nvCxnSpPr>
          <p:cNvPr id="68" name="Gerade Verbindung 67"/>
          <p:cNvCxnSpPr/>
          <p:nvPr/>
        </p:nvCxnSpPr>
        <p:spPr bwMode="auto">
          <a:xfrm>
            <a:off x="650830" y="1909166"/>
            <a:ext cx="13923" cy="3006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9" name="Gerade Verbindung 68"/>
          <p:cNvCxnSpPr/>
          <p:nvPr/>
        </p:nvCxnSpPr>
        <p:spPr bwMode="auto">
          <a:xfrm>
            <a:off x="8705325" y="1909166"/>
            <a:ext cx="0" cy="4158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0" name="Rechteck 69"/>
          <p:cNvSpPr/>
          <p:nvPr/>
        </p:nvSpPr>
        <p:spPr bwMode="auto">
          <a:xfrm>
            <a:off x="371930" y="5409074"/>
            <a:ext cx="216030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grpSp>
        <p:nvGrpSpPr>
          <p:cNvPr id="71" name="Gruppieren 70"/>
          <p:cNvGrpSpPr/>
          <p:nvPr/>
        </p:nvGrpSpPr>
        <p:grpSpPr>
          <a:xfrm>
            <a:off x="388229" y="5625098"/>
            <a:ext cx="183432" cy="108158"/>
            <a:chOff x="377853" y="5220927"/>
            <a:chExt cx="183432" cy="108158"/>
          </a:xfrm>
        </p:grpSpPr>
        <p:sp>
          <p:nvSpPr>
            <p:cNvPr id="72" name="Rechteck 71"/>
            <p:cNvSpPr/>
            <p:nvPr/>
          </p:nvSpPr>
          <p:spPr bwMode="auto">
            <a:xfrm>
              <a:off x="377853" y="5220927"/>
              <a:ext cx="45719" cy="108158"/>
            </a:xfrm>
            <a:prstGeom prst="rect">
              <a:avLst/>
            </a:prstGeom>
            <a:solidFill>
              <a:schemeClr val="accent1">
                <a:lumMod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sp>
          <p:nvSpPr>
            <p:cNvPr id="73" name="Rechteck 72"/>
            <p:cNvSpPr/>
            <p:nvPr/>
          </p:nvSpPr>
          <p:spPr bwMode="auto">
            <a:xfrm>
              <a:off x="423572" y="5220927"/>
              <a:ext cx="45719" cy="10815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sp>
          <p:nvSpPr>
            <p:cNvPr id="74" name="Rechteck 73"/>
            <p:cNvSpPr/>
            <p:nvPr/>
          </p:nvSpPr>
          <p:spPr bwMode="auto">
            <a:xfrm>
              <a:off x="469291" y="5220927"/>
              <a:ext cx="45719" cy="108158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sp>
          <p:nvSpPr>
            <p:cNvPr id="75" name="Rechteck 74"/>
            <p:cNvSpPr/>
            <p:nvPr/>
          </p:nvSpPr>
          <p:spPr bwMode="auto">
            <a:xfrm>
              <a:off x="515566" y="5220927"/>
              <a:ext cx="45719" cy="108158"/>
            </a:xfrm>
            <a:prstGeom prst="rect">
              <a:avLst/>
            </a:prstGeom>
            <a:solidFill>
              <a:schemeClr val="accent1">
                <a:lumMod val="2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</p:grpSp>
      <p:cxnSp>
        <p:nvCxnSpPr>
          <p:cNvPr id="76" name="Gerade Verbindung 75"/>
          <p:cNvCxnSpPr/>
          <p:nvPr/>
        </p:nvCxnSpPr>
        <p:spPr bwMode="auto">
          <a:xfrm flipH="1" flipV="1">
            <a:off x="342747" y="5877272"/>
            <a:ext cx="274396" cy="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7" name="Gerade Verbindung 76"/>
          <p:cNvCxnSpPr/>
          <p:nvPr/>
        </p:nvCxnSpPr>
        <p:spPr bwMode="auto">
          <a:xfrm flipH="1" flipV="1">
            <a:off x="342747" y="6093296"/>
            <a:ext cx="27439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" name="Gerade Verbindung 77"/>
          <p:cNvCxnSpPr/>
          <p:nvPr/>
        </p:nvCxnSpPr>
        <p:spPr bwMode="auto">
          <a:xfrm flipH="1">
            <a:off x="6271732" y="1930952"/>
            <a:ext cx="1223" cy="3546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9" name="Textfeld 78"/>
          <p:cNvSpPr txBox="1"/>
          <p:nvPr/>
        </p:nvSpPr>
        <p:spPr>
          <a:xfrm>
            <a:off x="8857330" y="2241538"/>
            <a:ext cx="5760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41,4%</a:t>
            </a:r>
          </a:p>
        </p:txBody>
      </p:sp>
      <p:sp>
        <p:nvSpPr>
          <p:cNvPr id="80" name="Textfeld 79"/>
          <p:cNvSpPr txBox="1"/>
          <p:nvPr/>
        </p:nvSpPr>
        <p:spPr>
          <a:xfrm>
            <a:off x="8888560" y="2450468"/>
            <a:ext cx="5221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3,1%</a:t>
            </a:r>
          </a:p>
        </p:txBody>
      </p:sp>
      <p:sp>
        <p:nvSpPr>
          <p:cNvPr id="81" name="Textfeld 80"/>
          <p:cNvSpPr txBox="1"/>
          <p:nvPr/>
        </p:nvSpPr>
        <p:spPr>
          <a:xfrm>
            <a:off x="8895512" y="2635134"/>
            <a:ext cx="5760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2,1%</a:t>
            </a:r>
          </a:p>
        </p:txBody>
      </p:sp>
      <p:sp>
        <p:nvSpPr>
          <p:cNvPr id="82" name="Textfeld 81"/>
          <p:cNvSpPr txBox="1"/>
          <p:nvPr/>
        </p:nvSpPr>
        <p:spPr>
          <a:xfrm>
            <a:off x="8895512" y="2831932"/>
            <a:ext cx="5760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2,0%</a:t>
            </a:r>
          </a:p>
        </p:txBody>
      </p:sp>
      <p:sp>
        <p:nvSpPr>
          <p:cNvPr id="83" name="Textfeld 82"/>
          <p:cNvSpPr txBox="1"/>
          <p:nvPr/>
        </p:nvSpPr>
        <p:spPr>
          <a:xfrm>
            <a:off x="8895512" y="3028730"/>
            <a:ext cx="5760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1,9%</a:t>
            </a:r>
          </a:p>
        </p:txBody>
      </p:sp>
      <p:sp>
        <p:nvSpPr>
          <p:cNvPr id="84" name="Textfeld 83"/>
          <p:cNvSpPr txBox="1"/>
          <p:nvPr/>
        </p:nvSpPr>
        <p:spPr>
          <a:xfrm>
            <a:off x="8895512" y="3225528"/>
            <a:ext cx="5760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1,8%</a:t>
            </a:r>
          </a:p>
        </p:txBody>
      </p:sp>
      <p:sp>
        <p:nvSpPr>
          <p:cNvPr id="85" name="Textfeld 84"/>
          <p:cNvSpPr txBox="1"/>
          <p:nvPr/>
        </p:nvSpPr>
        <p:spPr>
          <a:xfrm>
            <a:off x="8895512" y="3422326"/>
            <a:ext cx="5760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1,6%</a:t>
            </a:r>
          </a:p>
        </p:txBody>
      </p:sp>
      <p:sp>
        <p:nvSpPr>
          <p:cNvPr id="86" name="Textfeld 85"/>
          <p:cNvSpPr txBox="1"/>
          <p:nvPr/>
        </p:nvSpPr>
        <p:spPr>
          <a:xfrm>
            <a:off x="8895512" y="3619124"/>
            <a:ext cx="5760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1,6%</a:t>
            </a:r>
          </a:p>
        </p:txBody>
      </p:sp>
      <p:sp>
        <p:nvSpPr>
          <p:cNvPr id="87" name="Textfeld 86"/>
          <p:cNvSpPr txBox="1"/>
          <p:nvPr/>
        </p:nvSpPr>
        <p:spPr>
          <a:xfrm>
            <a:off x="8895512" y="3815922"/>
            <a:ext cx="5760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1,5%</a:t>
            </a:r>
          </a:p>
        </p:txBody>
      </p:sp>
      <p:sp>
        <p:nvSpPr>
          <p:cNvPr id="88" name="Textfeld 87"/>
          <p:cNvSpPr txBox="1"/>
          <p:nvPr/>
        </p:nvSpPr>
        <p:spPr>
          <a:xfrm>
            <a:off x="8895512" y="4012720"/>
            <a:ext cx="5760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1,5%</a:t>
            </a:r>
          </a:p>
        </p:txBody>
      </p:sp>
      <p:sp>
        <p:nvSpPr>
          <p:cNvPr id="89" name="Textfeld 88"/>
          <p:cNvSpPr txBox="1"/>
          <p:nvPr/>
        </p:nvSpPr>
        <p:spPr>
          <a:xfrm>
            <a:off x="8895512" y="4209518"/>
            <a:ext cx="5760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1,4%</a:t>
            </a:r>
          </a:p>
        </p:txBody>
      </p:sp>
      <p:sp>
        <p:nvSpPr>
          <p:cNvPr id="90" name="Textfeld 89"/>
          <p:cNvSpPr txBox="1"/>
          <p:nvPr/>
        </p:nvSpPr>
        <p:spPr>
          <a:xfrm>
            <a:off x="8895512" y="4406316"/>
            <a:ext cx="5760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1,2%</a:t>
            </a:r>
          </a:p>
        </p:txBody>
      </p:sp>
      <p:sp>
        <p:nvSpPr>
          <p:cNvPr id="91" name="Textfeld 90"/>
          <p:cNvSpPr txBox="1"/>
          <p:nvPr/>
        </p:nvSpPr>
        <p:spPr>
          <a:xfrm>
            <a:off x="8895512" y="4603114"/>
            <a:ext cx="5760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1,1%</a:t>
            </a:r>
          </a:p>
        </p:txBody>
      </p:sp>
      <p:sp>
        <p:nvSpPr>
          <p:cNvPr id="92" name="Textfeld 91"/>
          <p:cNvSpPr txBox="1"/>
          <p:nvPr/>
        </p:nvSpPr>
        <p:spPr>
          <a:xfrm>
            <a:off x="8895512" y="4799912"/>
            <a:ext cx="5760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1,1%</a:t>
            </a:r>
          </a:p>
        </p:txBody>
      </p:sp>
      <p:sp>
        <p:nvSpPr>
          <p:cNvPr id="93" name="Textfeld 92"/>
          <p:cNvSpPr txBox="1"/>
          <p:nvPr/>
        </p:nvSpPr>
        <p:spPr>
          <a:xfrm>
            <a:off x="8895512" y="4996710"/>
            <a:ext cx="5760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1,1%</a:t>
            </a:r>
          </a:p>
        </p:txBody>
      </p:sp>
      <p:sp>
        <p:nvSpPr>
          <p:cNvPr id="94" name="Textfeld 93"/>
          <p:cNvSpPr txBox="1"/>
          <p:nvPr/>
        </p:nvSpPr>
        <p:spPr>
          <a:xfrm>
            <a:off x="8895512" y="5193508"/>
            <a:ext cx="5760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1,1%</a:t>
            </a:r>
          </a:p>
        </p:txBody>
      </p:sp>
      <p:sp>
        <p:nvSpPr>
          <p:cNvPr id="95" name="Textfeld 94"/>
          <p:cNvSpPr txBox="1"/>
          <p:nvPr/>
        </p:nvSpPr>
        <p:spPr>
          <a:xfrm>
            <a:off x="8895512" y="5390306"/>
            <a:ext cx="5760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1,0%</a:t>
            </a:r>
          </a:p>
        </p:txBody>
      </p:sp>
      <p:sp>
        <p:nvSpPr>
          <p:cNvPr id="96" name="Textfeld 95"/>
          <p:cNvSpPr txBox="1"/>
          <p:nvPr/>
        </p:nvSpPr>
        <p:spPr>
          <a:xfrm>
            <a:off x="8895512" y="5587104"/>
            <a:ext cx="5760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1,0%</a:t>
            </a:r>
          </a:p>
        </p:txBody>
      </p:sp>
      <p:sp>
        <p:nvSpPr>
          <p:cNvPr id="97" name="Textfeld 96"/>
          <p:cNvSpPr txBox="1"/>
          <p:nvPr/>
        </p:nvSpPr>
        <p:spPr>
          <a:xfrm>
            <a:off x="8895512" y="5783902"/>
            <a:ext cx="5760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1,0%</a:t>
            </a:r>
          </a:p>
        </p:txBody>
      </p:sp>
      <p:sp>
        <p:nvSpPr>
          <p:cNvPr id="98" name="Textfeld 97"/>
          <p:cNvSpPr txBox="1"/>
          <p:nvPr/>
        </p:nvSpPr>
        <p:spPr>
          <a:xfrm>
            <a:off x="8895512" y="5980706"/>
            <a:ext cx="5760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0,8%</a:t>
            </a:r>
          </a:p>
        </p:txBody>
      </p:sp>
      <p:sp>
        <p:nvSpPr>
          <p:cNvPr id="99" name="Textfeld 98"/>
          <p:cNvSpPr txBox="1"/>
          <p:nvPr/>
        </p:nvSpPr>
        <p:spPr>
          <a:xfrm>
            <a:off x="7686923" y="6238473"/>
            <a:ext cx="153086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Anteil Fahrlagen</a:t>
            </a:r>
            <a:br>
              <a:rPr lang="de-DE" sz="1400" dirty="0" smtClean="0">
                <a:solidFill>
                  <a:srgbClr val="000000"/>
                </a:solidFill>
                <a:latin typeface="DB Office"/>
              </a:rPr>
            </a:b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(insgesamt: 14930)</a:t>
            </a:r>
          </a:p>
        </p:txBody>
      </p:sp>
    </p:spTree>
    <p:extLst>
      <p:ext uri="{BB962C8B-B14F-4D97-AF65-F5344CB8AC3E}">
        <p14:creationId xmlns:p14="http://schemas.microsoft.com/office/powerpoint/2010/main" val="1480307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rIns="1080000"/>
          <a:lstStyle/>
          <a:p>
            <a:r>
              <a:rPr lang="de-DE" dirty="0" smtClean="0"/>
              <a:t>Abhängig davon, wie sich die einzelnen Fahrlagen </a:t>
            </a:r>
            <a:br>
              <a:rPr lang="de-DE" dirty="0" smtClean="0"/>
            </a:br>
            <a:r>
              <a:rPr lang="de-DE" dirty="0" smtClean="0"/>
              <a:t>überlagern, können viele unterschiedliche Zustände entstehe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Patrick Breun, Jordis Wächter | Dresden | 18.12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de-DE" dirty="0"/>
          </a:p>
        </p:txBody>
      </p:sp>
      <p:cxnSp>
        <p:nvCxnSpPr>
          <p:cNvPr id="5" name="Gerade Verbindung mit Pfeil 4"/>
          <p:cNvCxnSpPr/>
          <p:nvPr/>
        </p:nvCxnSpPr>
        <p:spPr bwMode="auto">
          <a:xfrm>
            <a:off x="989837" y="1693379"/>
            <a:ext cx="806512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Rechteck 5"/>
          <p:cNvSpPr/>
          <p:nvPr/>
        </p:nvSpPr>
        <p:spPr bwMode="auto">
          <a:xfrm>
            <a:off x="983708" y="2285460"/>
            <a:ext cx="8065120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983709" y="1925409"/>
            <a:ext cx="3672510" cy="216317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rgbClr val="FF0000"/>
              </a:solidFill>
              <a:effectLst/>
              <a:latin typeface="DB Office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4566206" y="1412236"/>
            <a:ext cx="1800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24</a:t>
            </a:r>
            <a:endParaRPr lang="de-DE" dirty="0" smtClean="0"/>
          </a:p>
        </p:txBody>
      </p:sp>
      <p:cxnSp>
        <p:nvCxnSpPr>
          <p:cNvPr id="9" name="Gerade Verbindung 8"/>
          <p:cNvCxnSpPr/>
          <p:nvPr/>
        </p:nvCxnSpPr>
        <p:spPr bwMode="auto">
          <a:xfrm>
            <a:off x="983708" y="1603389"/>
            <a:ext cx="0" cy="21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Gerade Verbindung 9"/>
          <p:cNvCxnSpPr/>
          <p:nvPr/>
        </p:nvCxnSpPr>
        <p:spPr bwMode="auto">
          <a:xfrm>
            <a:off x="4656219" y="1603389"/>
            <a:ext cx="0" cy="21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rade Verbindung 10"/>
          <p:cNvCxnSpPr/>
          <p:nvPr/>
        </p:nvCxnSpPr>
        <p:spPr bwMode="auto">
          <a:xfrm>
            <a:off x="6246451" y="1603389"/>
            <a:ext cx="0" cy="21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Gerade Verbindung 11"/>
          <p:cNvCxnSpPr/>
          <p:nvPr/>
        </p:nvCxnSpPr>
        <p:spPr bwMode="auto">
          <a:xfrm>
            <a:off x="6993010" y="1603389"/>
            <a:ext cx="0" cy="21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Gerade Verbindung 12"/>
          <p:cNvCxnSpPr/>
          <p:nvPr/>
        </p:nvCxnSpPr>
        <p:spPr bwMode="auto">
          <a:xfrm>
            <a:off x="8904808" y="1603389"/>
            <a:ext cx="0" cy="21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Textfeld 13"/>
          <p:cNvSpPr txBox="1"/>
          <p:nvPr/>
        </p:nvSpPr>
        <p:spPr>
          <a:xfrm>
            <a:off x="924052" y="1412236"/>
            <a:ext cx="1315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1</a:t>
            </a:r>
            <a:endParaRPr lang="de-DE" dirty="0" smtClean="0"/>
          </a:p>
        </p:txBody>
      </p:sp>
      <p:sp>
        <p:nvSpPr>
          <p:cNvPr id="15" name="Rechteck 14"/>
          <p:cNvSpPr/>
          <p:nvPr/>
        </p:nvSpPr>
        <p:spPr bwMode="auto">
          <a:xfrm>
            <a:off x="4656219" y="1925408"/>
            <a:ext cx="1584219" cy="216317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16" name="Rechteck 15"/>
          <p:cNvSpPr/>
          <p:nvPr/>
        </p:nvSpPr>
        <p:spPr bwMode="auto">
          <a:xfrm>
            <a:off x="6240438" y="1925407"/>
            <a:ext cx="792109" cy="21631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17" name="Rechteck 16"/>
          <p:cNvSpPr/>
          <p:nvPr/>
        </p:nvSpPr>
        <p:spPr bwMode="auto">
          <a:xfrm>
            <a:off x="7032547" y="1925406"/>
            <a:ext cx="2016281" cy="216317"/>
          </a:xfrm>
          <a:prstGeom prst="rect">
            <a:avLst/>
          </a:prstGeom>
          <a:solidFill>
            <a:schemeClr val="accent1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137999" y="1412236"/>
            <a:ext cx="1744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36</a:t>
            </a:r>
            <a:endParaRPr lang="de-DE" dirty="0" smtClean="0"/>
          </a:p>
        </p:txBody>
      </p:sp>
      <p:sp>
        <p:nvSpPr>
          <p:cNvPr id="19" name="Textfeld 18"/>
          <p:cNvSpPr txBox="1"/>
          <p:nvPr/>
        </p:nvSpPr>
        <p:spPr>
          <a:xfrm>
            <a:off x="6905025" y="1412236"/>
            <a:ext cx="2408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41</a:t>
            </a:r>
            <a:endParaRPr lang="de-DE" dirty="0" smtClean="0"/>
          </a:p>
        </p:txBody>
      </p:sp>
      <p:sp>
        <p:nvSpPr>
          <p:cNvPr id="20" name="Rechteck 19"/>
          <p:cNvSpPr/>
          <p:nvPr/>
        </p:nvSpPr>
        <p:spPr bwMode="auto">
          <a:xfrm>
            <a:off x="5520338" y="2469486"/>
            <a:ext cx="504070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1" name="Rechteck 20"/>
          <p:cNvSpPr/>
          <p:nvPr/>
        </p:nvSpPr>
        <p:spPr bwMode="auto">
          <a:xfrm>
            <a:off x="6752176" y="2653512"/>
            <a:ext cx="2296652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2" name="Rechteck 21"/>
          <p:cNvSpPr/>
          <p:nvPr/>
        </p:nvSpPr>
        <p:spPr bwMode="auto">
          <a:xfrm>
            <a:off x="3648078" y="2837538"/>
            <a:ext cx="2088290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3" name="Rechteck 22"/>
          <p:cNvSpPr/>
          <p:nvPr/>
        </p:nvSpPr>
        <p:spPr bwMode="auto">
          <a:xfrm>
            <a:off x="6166333" y="3021564"/>
            <a:ext cx="542105" cy="97790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4" name="Rechteck 23"/>
          <p:cNvSpPr/>
          <p:nvPr/>
        </p:nvSpPr>
        <p:spPr bwMode="auto">
          <a:xfrm>
            <a:off x="989837" y="3205590"/>
            <a:ext cx="504070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5" name="Rechteck 24"/>
          <p:cNvSpPr/>
          <p:nvPr/>
        </p:nvSpPr>
        <p:spPr bwMode="auto">
          <a:xfrm>
            <a:off x="990344" y="3573642"/>
            <a:ext cx="5610144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6" name="Rechteck 25"/>
          <p:cNvSpPr/>
          <p:nvPr/>
        </p:nvSpPr>
        <p:spPr bwMode="auto">
          <a:xfrm>
            <a:off x="1347076" y="3941694"/>
            <a:ext cx="1159607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7" name="Rechteck 26"/>
          <p:cNvSpPr/>
          <p:nvPr/>
        </p:nvSpPr>
        <p:spPr bwMode="auto">
          <a:xfrm>
            <a:off x="6927851" y="3389616"/>
            <a:ext cx="464748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8" name="Rechteck 27"/>
          <p:cNvSpPr/>
          <p:nvPr/>
        </p:nvSpPr>
        <p:spPr bwMode="auto">
          <a:xfrm>
            <a:off x="3144008" y="4129420"/>
            <a:ext cx="216030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9" name="Rechteck 28"/>
          <p:cNvSpPr/>
          <p:nvPr/>
        </p:nvSpPr>
        <p:spPr bwMode="auto">
          <a:xfrm>
            <a:off x="4192319" y="4309746"/>
            <a:ext cx="216030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0" name="Rechteck 29"/>
          <p:cNvSpPr/>
          <p:nvPr/>
        </p:nvSpPr>
        <p:spPr bwMode="auto">
          <a:xfrm>
            <a:off x="1575466" y="4493772"/>
            <a:ext cx="2016000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1" name="Rechteck 30"/>
          <p:cNvSpPr/>
          <p:nvPr/>
        </p:nvSpPr>
        <p:spPr bwMode="auto">
          <a:xfrm>
            <a:off x="7104558" y="3757668"/>
            <a:ext cx="648090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2" name="Rechteck 31"/>
          <p:cNvSpPr/>
          <p:nvPr/>
        </p:nvSpPr>
        <p:spPr bwMode="auto">
          <a:xfrm>
            <a:off x="3504058" y="4677798"/>
            <a:ext cx="3384471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3" name="Rechteck 32"/>
          <p:cNvSpPr/>
          <p:nvPr/>
        </p:nvSpPr>
        <p:spPr bwMode="auto">
          <a:xfrm>
            <a:off x="3424950" y="4861824"/>
            <a:ext cx="3031518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4" name="Rechteck 33"/>
          <p:cNvSpPr/>
          <p:nvPr/>
        </p:nvSpPr>
        <p:spPr bwMode="auto">
          <a:xfrm>
            <a:off x="3842071" y="5045850"/>
            <a:ext cx="1534247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5" name="Rechteck 34"/>
          <p:cNvSpPr/>
          <p:nvPr/>
        </p:nvSpPr>
        <p:spPr bwMode="auto">
          <a:xfrm>
            <a:off x="5155735" y="5229876"/>
            <a:ext cx="2744767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6" name="Rechteck 35"/>
          <p:cNvSpPr/>
          <p:nvPr/>
        </p:nvSpPr>
        <p:spPr bwMode="auto">
          <a:xfrm>
            <a:off x="4082933" y="5413902"/>
            <a:ext cx="4101775" cy="103819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7" name="Rechteck 36"/>
          <p:cNvSpPr/>
          <p:nvPr/>
        </p:nvSpPr>
        <p:spPr bwMode="auto">
          <a:xfrm>
            <a:off x="5307103" y="5597919"/>
            <a:ext cx="936130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38" name="Gerade Verbindung 37"/>
          <p:cNvCxnSpPr/>
          <p:nvPr/>
        </p:nvCxnSpPr>
        <p:spPr bwMode="auto">
          <a:xfrm flipH="1">
            <a:off x="9048826" y="1925406"/>
            <a:ext cx="1" cy="828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Gerade Verbindung 38"/>
          <p:cNvCxnSpPr/>
          <p:nvPr/>
        </p:nvCxnSpPr>
        <p:spPr bwMode="auto">
          <a:xfrm flipH="1">
            <a:off x="6706777" y="1928699"/>
            <a:ext cx="2" cy="1206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Gerade Verbindung 39"/>
          <p:cNvCxnSpPr/>
          <p:nvPr/>
        </p:nvCxnSpPr>
        <p:spPr bwMode="auto">
          <a:xfrm flipH="1">
            <a:off x="7384671" y="1925409"/>
            <a:ext cx="2" cy="1566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Gerade Verbindung 40"/>
          <p:cNvCxnSpPr/>
          <p:nvPr/>
        </p:nvCxnSpPr>
        <p:spPr bwMode="auto">
          <a:xfrm>
            <a:off x="7103890" y="1932399"/>
            <a:ext cx="0" cy="194899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Gerade Verbindung 41"/>
          <p:cNvCxnSpPr/>
          <p:nvPr/>
        </p:nvCxnSpPr>
        <p:spPr bwMode="auto">
          <a:xfrm>
            <a:off x="7752648" y="1925409"/>
            <a:ext cx="0" cy="1944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Gerade Verbindung 42"/>
          <p:cNvCxnSpPr/>
          <p:nvPr/>
        </p:nvCxnSpPr>
        <p:spPr bwMode="auto">
          <a:xfrm flipH="1">
            <a:off x="6162501" y="1925098"/>
            <a:ext cx="2" cy="1206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" name="Gerade Verbindung 43"/>
          <p:cNvCxnSpPr/>
          <p:nvPr/>
        </p:nvCxnSpPr>
        <p:spPr bwMode="auto">
          <a:xfrm flipH="1">
            <a:off x="6591178" y="1925409"/>
            <a:ext cx="2" cy="1746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Gerade Verbindung 44"/>
          <p:cNvCxnSpPr>
            <a:endCxn id="20" idx="3"/>
          </p:cNvCxnSpPr>
          <p:nvPr/>
        </p:nvCxnSpPr>
        <p:spPr bwMode="auto">
          <a:xfrm>
            <a:off x="6024406" y="1925409"/>
            <a:ext cx="2" cy="6408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Gerade Verbindung 45"/>
          <p:cNvCxnSpPr/>
          <p:nvPr/>
        </p:nvCxnSpPr>
        <p:spPr bwMode="auto">
          <a:xfrm>
            <a:off x="5520338" y="1925409"/>
            <a:ext cx="2" cy="6408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Gerade Verbindung 46"/>
          <p:cNvCxnSpPr/>
          <p:nvPr/>
        </p:nvCxnSpPr>
        <p:spPr bwMode="auto">
          <a:xfrm>
            <a:off x="5721129" y="1925406"/>
            <a:ext cx="0" cy="1016997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Gerade Verbindung 47"/>
          <p:cNvCxnSpPr/>
          <p:nvPr/>
        </p:nvCxnSpPr>
        <p:spPr bwMode="auto">
          <a:xfrm>
            <a:off x="3648078" y="1928699"/>
            <a:ext cx="0" cy="1016997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9" name="Gerade Verbindung 48"/>
          <p:cNvCxnSpPr/>
          <p:nvPr/>
        </p:nvCxnSpPr>
        <p:spPr bwMode="auto">
          <a:xfrm>
            <a:off x="990344" y="1925406"/>
            <a:ext cx="6635" cy="17388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0" name="Gerade Verbindung 49"/>
          <p:cNvCxnSpPr/>
          <p:nvPr/>
        </p:nvCxnSpPr>
        <p:spPr bwMode="auto">
          <a:xfrm>
            <a:off x="1480584" y="1928699"/>
            <a:ext cx="6635" cy="1386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" name="Gerade Verbindung 50"/>
          <p:cNvCxnSpPr/>
          <p:nvPr/>
        </p:nvCxnSpPr>
        <p:spPr bwMode="auto">
          <a:xfrm>
            <a:off x="1343758" y="1920603"/>
            <a:ext cx="3318" cy="2124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" name="Gerade Verbindung 51"/>
          <p:cNvCxnSpPr/>
          <p:nvPr/>
        </p:nvCxnSpPr>
        <p:spPr bwMode="auto">
          <a:xfrm>
            <a:off x="2495918" y="1920603"/>
            <a:ext cx="3318" cy="2124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Gerade Verbindung 52"/>
          <p:cNvCxnSpPr>
            <a:endCxn id="33" idx="1"/>
          </p:cNvCxnSpPr>
          <p:nvPr/>
        </p:nvCxnSpPr>
        <p:spPr bwMode="auto">
          <a:xfrm>
            <a:off x="3419507" y="1928699"/>
            <a:ext cx="5443" cy="298720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" name="Gerade Verbindung 53"/>
          <p:cNvCxnSpPr/>
          <p:nvPr/>
        </p:nvCxnSpPr>
        <p:spPr bwMode="auto">
          <a:xfrm>
            <a:off x="3144008" y="1932399"/>
            <a:ext cx="3318" cy="2305179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Gerade Verbindung 54"/>
          <p:cNvCxnSpPr/>
          <p:nvPr/>
        </p:nvCxnSpPr>
        <p:spPr bwMode="auto">
          <a:xfrm>
            <a:off x="3588148" y="1932399"/>
            <a:ext cx="3318" cy="267323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6" name="Gerade Verbindung 55"/>
          <p:cNvCxnSpPr/>
          <p:nvPr/>
        </p:nvCxnSpPr>
        <p:spPr bwMode="auto">
          <a:xfrm>
            <a:off x="1575466" y="1928699"/>
            <a:ext cx="3318" cy="267323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" name="Gerade Verbindung 56"/>
          <p:cNvCxnSpPr/>
          <p:nvPr/>
        </p:nvCxnSpPr>
        <p:spPr bwMode="auto">
          <a:xfrm>
            <a:off x="6451025" y="1928699"/>
            <a:ext cx="5443" cy="3042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8" name="Gerade Verbindung 57"/>
          <p:cNvCxnSpPr/>
          <p:nvPr/>
        </p:nvCxnSpPr>
        <p:spPr bwMode="auto">
          <a:xfrm flipH="1">
            <a:off x="6761744" y="1928699"/>
            <a:ext cx="2" cy="83297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Gerade Verbindung 58"/>
          <p:cNvCxnSpPr/>
          <p:nvPr/>
        </p:nvCxnSpPr>
        <p:spPr bwMode="auto">
          <a:xfrm flipH="1">
            <a:off x="6927851" y="1928699"/>
            <a:ext cx="2" cy="1566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0" name="Gerade Verbindung 59"/>
          <p:cNvCxnSpPr/>
          <p:nvPr/>
        </p:nvCxnSpPr>
        <p:spPr bwMode="auto">
          <a:xfrm>
            <a:off x="6888528" y="1932399"/>
            <a:ext cx="0" cy="2826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Gerade Verbindung 60"/>
          <p:cNvCxnSpPr/>
          <p:nvPr/>
        </p:nvCxnSpPr>
        <p:spPr bwMode="auto">
          <a:xfrm>
            <a:off x="3506227" y="1932399"/>
            <a:ext cx="0" cy="2861875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2" name="Gerade Verbindung 61"/>
          <p:cNvCxnSpPr/>
          <p:nvPr/>
        </p:nvCxnSpPr>
        <p:spPr bwMode="auto">
          <a:xfrm>
            <a:off x="4202315" y="1920603"/>
            <a:ext cx="0" cy="249165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Gerade Verbindung 62"/>
          <p:cNvCxnSpPr/>
          <p:nvPr/>
        </p:nvCxnSpPr>
        <p:spPr bwMode="auto">
          <a:xfrm>
            <a:off x="4399009" y="1920603"/>
            <a:ext cx="3318" cy="2491655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4" name="Gerade Verbindung 63"/>
          <p:cNvCxnSpPr/>
          <p:nvPr/>
        </p:nvCxnSpPr>
        <p:spPr bwMode="auto">
          <a:xfrm flipH="1">
            <a:off x="6240438" y="1928699"/>
            <a:ext cx="2795" cy="3780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5" name="Gerade Verbindung 64"/>
          <p:cNvCxnSpPr/>
          <p:nvPr/>
        </p:nvCxnSpPr>
        <p:spPr bwMode="auto">
          <a:xfrm flipH="1">
            <a:off x="5304308" y="1932399"/>
            <a:ext cx="2795" cy="3780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6" name="Gerade Verbindung 65"/>
          <p:cNvCxnSpPr/>
          <p:nvPr/>
        </p:nvCxnSpPr>
        <p:spPr bwMode="auto">
          <a:xfrm flipH="1">
            <a:off x="5370730" y="1916832"/>
            <a:ext cx="2794" cy="3240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7" name="Gerade Verbindung 66"/>
          <p:cNvCxnSpPr/>
          <p:nvPr/>
        </p:nvCxnSpPr>
        <p:spPr bwMode="auto">
          <a:xfrm flipH="1">
            <a:off x="3846300" y="1920603"/>
            <a:ext cx="2794" cy="3240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8" name="Gerade Verbindung 67"/>
          <p:cNvCxnSpPr/>
          <p:nvPr/>
        </p:nvCxnSpPr>
        <p:spPr bwMode="auto">
          <a:xfrm flipH="1">
            <a:off x="4077343" y="1932399"/>
            <a:ext cx="2795" cy="3600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9" name="Gerade Verbindung 68"/>
          <p:cNvCxnSpPr/>
          <p:nvPr/>
        </p:nvCxnSpPr>
        <p:spPr bwMode="auto">
          <a:xfrm flipH="1">
            <a:off x="5152941" y="1929319"/>
            <a:ext cx="2794" cy="339680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" name="Gerade Verbindung 69"/>
          <p:cNvCxnSpPr/>
          <p:nvPr/>
        </p:nvCxnSpPr>
        <p:spPr bwMode="auto">
          <a:xfrm flipH="1">
            <a:off x="7889699" y="1925406"/>
            <a:ext cx="2794" cy="339680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1" name="Gerade Verbindung 70"/>
          <p:cNvCxnSpPr/>
          <p:nvPr/>
        </p:nvCxnSpPr>
        <p:spPr bwMode="auto">
          <a:xfrm flipH="1">
            <a:off x="8184708" y="1929319"/>
            <a:ext cx="2795" cy="3582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2" name="Gerade Verbindung 71"/>
          <p:cNvCxnSpPr/>
          <p:nvPr/>
        </p:nvCxnSpPr>
        <p:spPr bwMode="auto">
          <a:xfrm>
            <a:off x="3356720" y="1920603"/>
            <a:ext cx="3318" cy="2305179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" name="Gerade Verbindung 72"/>
          <p:cNvCxnSpPr/>
          <p:nvPr/>
        </p:nvCxnSpPr>
        <p:spPr bwMode="auto">
          <a:xfrm>
            <a:off x="4656219" y="1925098"/>
            <a:ext cx="0" cy="417689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4" name="Gerade Verbindung 73"/>
          <p:cNvCxnSpPr/>
          <p:nvPr/>
        </p:nvCxnSpPr>
        <p:spPr bwMode="auto">
          <a:xfrm>
            <a:off x="6243705" y="1928699"/>
            <a:ext cx="0" cy="417689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5" name="Gerade Verbindung 74"/>
          <p:cNvCxnSpPr/>
          <p:nvPr/>
        </p:nvCxnSpPr>
        <p:spPr bwMode="auto">
          <a:xfrm>
            <a:off x="7028416" y="1932399"/>
            <a:ext cx="0" cy="417689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7" name="Textfeld 76"/>
          <p:cNvSpPr txBox="1"/>
          <p:nvPr/>
        </p:nvSpPr>
        <p:spPr>
          <a:xfrm>
            <a:off x="8807995" y="1412236"/>
            <a:ext cx="2408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53</a:t>
            </a:r>
            <a:endParaRPr lang="de-DE" dirty="0" smtClean="0"/>
          </a:p>
        </p:txBody>
      </p:sp>
      <p:cxnSp>
        <p:nvCxnSpPr>
          <p:cNvPr id="78" name="Gerade Verbindung 77"/>
          <p:cNvCxnSpPr/>
          <p:nvPr/>
        </p:nvCxnSpPr>
        <p:spPr bwMode="auto">
          <a:xfrm>
            <a:off x="2481516" y="1603389"/>
            <a:ext cx="0" cy="21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9" name="Gerade Verbindung 78"/>
          <p:cNvCxnSpPr/>
          <p:nvPr/>
        </p:nvCxnSpPr>
        <p:spPr bwMode="auto">
          <a:xfrm>
            <a:off x="3998289" y="1603389"/>
            <a:ext cx="0" cy="21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0" name="Gerade Verbindung 79"/>
          <p:cNvCxnSpPr/>
          <p:nvPr/>
        </p:nvCxnSpPr>
        <p:spPr bwMode="auto">
          <a:xfrm>
            <a:off x="5477132" y="1603389"/>
            <a:ext cx="0" cy="21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" name="Gerade Verbindung 80"/>
          <p:cNvCxnSpPr/>
          <p:nvPr/>
        </p:nvCxnSpPr>
        <p:spPr bwMode="auto">
          <a:xfrm>
            <a:off x="8472748" y="1603389"/>
            <a:ext cx="0" cy="21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2" name="Textfeld 81"/>
          <p:cNvSpPr txBox="1"/>
          <p:nvPr/>
        </p:nvSpPr>
        <p:spPr>
          <a:xfrm>
            <a:off x="8385523" y="1416696"/>
            <a:ext cx="1744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50</a:t>
            </a:r>
            <a:endParaRPr lang="de-DE" dirty="0" smtClean="0"/>
          </a:p>
        </p:txBody>
      </p:sp>
      <p:sp>
        <p:nvSpPr>
          <p:cNvPr id="83" name="Textfeld 82"/>
          <p:cNvSpPr txBox="1"/>
          <p:nvPr/>
        </p:nvSpPr>
        <p:spPr>
          <a:xfrm>
            <a:off x="3908276" y="1416696"/>
            <a:ext cx="1800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20</a:t>
            </a:r>
            <a:endParaRPr lang="de-DE" dirty="0" smtClean="0"/>
          </a:p>
        </p:txBody>
      </p:sp>
      <p:sp>
        <p:nvSpPr>
          <p:cNvPr id="84" name="Textfeld 83"/>
          <p:cNvSpPr txBox="1"/>
          <p:nvPr/>
        </p:nvSpPr>
        <p:spPr>
          <a:xfrm>
            <a:off x="5387119" y="1416696"/>
            <a:ext cx="1800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30</a:t>
            </a:r>
            <a:endParaRPr lang="de-DE" dirty="0" smtClean="0"/>
          </a:p>
        </p:txBody>
      </p:sp>
      <p:sp>
        <p:nvSpPr>
          <p:cNvPr id="85" name="Textfeld 84"/>
          <p:cNvSpPr txBox="1"/>
          <p:nvPr/>
        </p:nvSpPr>
        <p:spPr>
          <a:xfrm>
            <a:off x="2391503" y="1416696"/>
            <a:ext cx="1800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10</a:t>
            </a:r>
            <a:endParaRPr lang="de-DE" dirty="0" smtClean="0"/>
          </a:p>
        </p:txBody>
      </p:sp>
      <p:sp>
        <p:nvSpPr>
          <p:cNvPr id="86" name="Rechteck 85"/>
          <p:cNvSpPr/>
          <p:nvPr/>
        </p:nvSpPr>
        <p:spPr bwMode="auto">
          <a:xfrm>
            <a:off x="270099" y="5085220"/>
            <a:ext cx="3674620" cy="13681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rPr>
              <a:t>Legende:</a:t>
            </a:r>
          </a:p>
          <a:p>
            <a:pPr marR="0" indent="355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 err="1" smtClean="0">
                <a:solidFill>
                  <a:schemeClr val="tx1"/>
                </a:solidFill>
                <a:latin typeface="DB Office" pitchFamily="34" charset="0"/>
              </a:rPr>
              <a:t>Fahrlage</a:t>
            </a:r>
            <a:endParaRPr lang="de-DE" sz="1400" dirty="0" smtClean="0">
              <a:solidFill>
                <a:schemeClr val="tx1"/>
              </a:solidFill>
              <a:latin typeface="DB Office" pitchFamily="34" charset="0"/>
            </a:endParaRPr>
          </a:p>
          <a:p>
            <a:pPr marL="355600"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 smtClean="0">
                <a:solidFill>
                  <a:schemeClr val="tx1"/>
                </a:solidFill>
                <a:latin typeface="DB Office" pitchFamily="34" charset="0"/>
              </a:rPr>
              <a:t>Systemtrasse mit Schneideregeln</a:t>
            </a:r>
          </a:p>
          <a:p>
            <a:pPr marL="355600"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 smtClean="0">
                <a:solidFill>
                  <a:schemeClr val="tx1"/>
                </a:solidFill>
                <a:latin typeface="DB Office" pitchFamily="34" charset="0"/>
              </a:rPr>
              <a:t>Start- bzw. Endzeitpunkt einer </a:t>
            </a:r>
            <a:r>
              <a:rPr lang="de-DE" sz="1400" dirty="0" err="1" smtClean="0">
                <a:solidFill>
                  <a:schemeClr val="tx1"/>
                </a:solidFill>
                <a:latin typeface="DB Office" pitchFamily="34" charset="0"/>
              </a:rPr>
              <a:t>Fahrlage</a:t>
            </a:r>
            <a:endParaRPr lang="de-DE" sz="1400" dirty="0" smtClean="0">
              <a:solidFill>
                <a:schemeClr val="tx1"/>
              </a:solidFill>
              <a:latin typeface="DB Office" pitchFamily="34" charset="0"/>
            </a:endParaRPr>
          </a:p>
          <a:p>
            <a:pPr marL="355600"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 smtClean="0">
                <a:solidFill>
                  <a:schemeClr val="tx1"/>
                </a:solidFill>
                <a:latin typeface="DB Office" pitchFamily="34" charset="0"/>
              </a:rPr>
              <a:t>Schneideregeln für Fahrlagen und Systemtrassen</a:t>
            </a:r>
            <a:endParaRPr lang="de-DE" sz="1400" dirty="0">
              <a:solidFill>
                <a:schemeClr val="tx1"/>
              </a:solidFill>
              <a:latin typeface="DB Office" pitchFamily="34" charset="0"/>
            </a:endParaRPr>
          </a:p>
        </p:txBody>
      </p:sp>
      <p:sp>
        <p:nvSpPr>
          <p:cNvPr id="87" name="Rechteck 86"/>
          <p:cNvSpPr/>
          <p:nvPr/>
        </p:nvSpPr>
        <p:spPr bwMode="auto">
          <a:xfrm>
            <a:off x="371930" y="5409074"/>
            <a:ext cx="216030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grpSp>
        <p:nvGrpSpPr>
          <p:cNvPr id="88" name="Gruppieren 87"/>
          <p:cNvGrpSpPr/>
          <p:nvPr/>
        </p:nvGrpSpPr>
        <p:grpSpPr>
          <a:xfrm>
            <a:off x="388229" y="5625098"/>
            <a:ext cx="183432" cy="108158"/>
            <a:chOff x="377853" y="5220927"/>
            <a:chExt cx="183432" cy="108158"/>
          </a:xfrm>
        </p:grpSpPr>
        <p:sp>
          <p:nvSpPr>
            <p:cNvPr id="89" name="Rechteck 88"/>
            <p:cNvSpPr/>
            <p:nvPr/>
          </p:nvSpPr>
          <p:spPr bwMode="auto">
            <a:xfrm>
              <a:off x="377853" y="5220927"/>
              <a:ext cx="45719" cy="108158"/>
            </a:xfrm>
            <a:prstGeom prst="rect">
              <a:avLst/>
            </a:prstGeom>
            <a:solidFill>
              <a:schemeClr val="accent1">
                <a:lumMod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sp>
          <p:nvSpPr>
            <p:cNvPr id="90" name="Rechteck 89"/>
            <p:cNvSpPr/>
            <p:nvPr/>
          </p:nvSpPr>
          <p:spPr bwMode="auto">
            <a:xfrm>
              <a:off x="423572" y="5220927"/>
              <a:ext cx="45719" cy="10815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sp>
          <p:nvSpPr>
            <p:cNvPr id="91" name="Rechteck 90"/>
            <p:cNvSpPr/>
            <p:nvPr/>
          </p:nvSpPr>
          <p:spPr bwMode="auto">
            <a:xfrm>
              <a:off x="469291" y="5220927"/>
              <a:ext cx="45719" cy="108158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sp>
          <p:nvSpPr>
            <p:cNvPr id="92" name="Rechteck 91"/>
            <p:cNvSpPr/>
            <p:nvPr/>
          </p:nvSpPr>
          <p:spPr bwMode="auto">
            <a:xfrm>
              <a:off x="515566" y="5220927"/>
              <a:ext cx="45719" cy="108158"/>
            </a:xfrm>
            <a:prstGeom prst="rect">
              <a:avLst/>
            </a:prstGeom>
            <a:solidFill>
              <a:schemeClr val="accent1">
                <a:lumMod val="2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</p:grpSp>
      <p:cxnSp>
        <p:nvCxnSpPr>
          <p:cNvPr id="93" name="Gerade Verbindung 92"/>
          <p:cNvCxnSpPr/>
          <p:nvPr/>
        </p:nvCxnSpPr>
        <p:spPr bwMode="auto">
          <a:xfrm flipH="1" flipV="1">
            <a:off x="342747" y="5877272"/>
            <a:ext cx="274396" cy="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4" name="Gerade Verbindung 93"/>
          <p:cNvCxnSpPr/>
          <p:nvPr/>
        </p:nvCxnSpPr>
        <p:spPr bwMode="auto">
          <a:xfrm flipH="1" flipV="1">
            <a:off x="342747" y="6093296"/>
            <a:ext cx="27439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5" name="Textfeld 94"/>
          <p:cNvSpPr txBox="1"/>
          <p:nvPr/>
        </p:nvSpPr>
        <p:spPr>
          <a:xfrm>
            <a:off x="9145130" y="1579861"/>
            <a:ext cx="84604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 smtClean="0"/>
              <a:t>Wochen</a:t>
            </a:r>
          </a:p>
        </p:txBody>
      </p:sp>
    </p:spTree>
    <p:extLst>
      <p:ext uri="{BB962C8B-B14F-4D97-AF65-F5344CB8AC3E}">
        <p14:creationId xmlns:p14="http://schemas.microsoft.com/office/powerpoint/2010/main" val="4231570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ur in einer Woche des vorliegenden </a:t>
            </a:r>
            <a:r>
              <a:rPr lang="de-DE" dirty="0" err="1" smtClean="0"/>
              <a:t>Nfpl</a:t>
            </a:r>
            <a:r>
              <a:rPr lang="de-DE" dirty="0" smtClean="0"/>
              <a:t>.-Jahres beginnen/enden keine Fahrlage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Patrick Breun, Jordis Wächter | Dresden | 18.12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de-DE" dirty="0"/>
          </a:p>
        </p:txBody>
      </p:sp>
      <p:graphicFrame>
        <p:nvGraphicFramePr>
          <p:cNvPr id="5" name="Diagramm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5682546"/>
              </p:ext>
            </p:extLst>
          </p:nvPr>
        </p:nvGraphicFramePr>
        <p:xfrm>
          <a:off x="630139" y="1772816"/>
          <a:ext cx="7704856" cy="44644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feld 5"/>
          <p:cNvSpPr txBox="1"/>
          <p:nvPr/>
        </p:nvSpPr>
        <p:spPr>
          <a:xfrm>
            <a:off x="7614915" y="6237312"/>
            <a:ext cx="55457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Woche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702147" y="1485364"/>
            <a:ext cx="410683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Anzahl Fahrlagen mit Beginn oder Ende in Woche x</a:t>
            </a:r>
          </a:p>
        </p:txBody>
      </p:sp>
      <p:graphicFrame>
        <p:nvGraphicFramePr>
          <p:cNvPr id="8" name="Diagramm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67331478"/>
              </p:ext>
            </p:extLst>
          </p:nvPr>
        </p:nvGraphicFramePr>
        <p:xfrm>
          <a:off x="2147692" y="1960265"/>
          <a:ext cx="530352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Rechteck 8"/>
          <p:cNvSpPr/>
          <p:nvPr/>
        </p:nvSpPr>
        <p:spPr bwMode="auto">
          <a:xfrm>
            <a:off x="1412702" y="5018509"/>
            <a:ext cx="6624736" cy="864096"/>
          </a:xfrm>
          <a:prstGeom prst="rec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cxnSp>
        <p:nvCxnSpPr>
          <p:cNvPr id="11" name="Gerade Verbindung 10"/>
          <p:cNvCxnSpPr/>
          <p:nvPr/>
        </p:nvCxnSpPr>
        <p:spPr bwMode="auto">
          <a:xfrm flipV="1">
            <a:off x="1412702" y="4696569"/>
            <a:ext cx="720080" cy="32194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Gerade Verbindung 11"/>
          <p:cNvCxnSpPr/>
          <p:nvPr/>
        </p:nvCxnSpPr>
        <p:spPr bwMode="auto">
          <a:xfrm flipH="1" flipV="1">
            <a:off x="7461374" y="4696569"/>
            <a:ext cx="576064" cy="32194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629699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eitere Zustände ergeben sich bei Berücksichtigung der unterschiedlichen Verkehrstagesregelunge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 smtClean="0"/>
              <a:t>DB Netz AG | Patrick </a:t>
            </a:r>
            <a:r>
              <a:rPr lang="de-DE" dirty="0" err="1" smtClean="0"/>
              <a:t>Breun</a:t>
            </a:r>
            <a:r>
              <a:rPr lang="de-DE" dirty="0" smtClean="0"/>
              <a:t>, Jordis Wächter | Dresden | 18.12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de-DE" dirty="0"/>
          </a:p>
        </p:txBody>
      </p:sp>
      <p:cxnSp>
        <p:nvCxnSpPr>
          <p:cNvPr id="5" name="Gerade Verbindung mit Pfeil 4"/>
          <p:cNvCxnSpPr/>
          <p:nvPr/>
        </p:nvCxnSpPr>
        <p:spPr bwMode="auto">
          <a:xfrm>
            <a:off x="620889" y="1718911"/>
            <a:ext cx="7642190" cy="1881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Gerade Verbindung 5"/>
          <p:cNvCxnSpPr/>
          <p:nvPr/>
        </p:nvCxnSpPr>
        <p:spPr bwMode="auto">
          <a:xfrm>
            <a:off x="620889" y="1563429"/>
            <a:ext cx="0" cy="29891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Gerade Verbindung 6"/>
          <p:cNvCxnSpPr/>
          <p:nvPr/>
        </p:nvCxnSpPr>
        <p:spPr bwMode="auto">
          <a:xfrm>
            <a:off x="1648173" y="1588275"/>
            <a:ext cx="0" cy="29891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Gerade Verbindung 7"/>
          <p:cNvCxnSpPr/>
          <p:nvPr/>
        </p:nvCxnSpPr>
        <p:spPr bwMode="auto">
          <a:xfrm>
            <a:off x="4730025" y="1588275"/>
            <a:ext cx="0" cy="29891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8"/>
          <p:cNvCxnSpPr/>
          <p:nvPr/>
        </p:nvCxnSpPr>
        <p:spPr bwMode="auto">
          <a:xfrm>
            <a:off x="5757309" y="1549273"/>
            <a:ext cx="0" cy="29891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Gerade Verbindung 9"/>
          <p:cNvCxnSpPr/>
          <p:nvPr/>
        </p:nvCxnSpPr>
        <p:spPr bwMode="auto">
          <a:xfrm>
            <a:off x="6784593" y="1588275"/>
            <a:ext cx="0" cy="29891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xtfeld 10"/>
          <p:cNvSpPr txBox="1"/>
          <p:nvPr/>
        </p:nvSpPr>
        <p:spPr>
          <a:xfrm>
            <a:off x="1019344" y="1393726"/>
            <a:ext cx="50407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 smtClean="0"/>
              <a:t>Mo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2034607" y="1393726"/>
            <a:ext cx="50407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 smtClean="0"/>
              <a:t>Di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3049869" y="1393726"/>
            <a:ext cx="50407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 smtClean="0"/>
              <a:t>Mi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4065131" y="1393726"/>
            <a:ext cx="50407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 smtClean="0"/>
              <a:t>Do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5080394" y="1393726"/>
            <a:ext cx="50407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 smtClean="0"/>
              <a:t>Fr</a:t>
            </a:r>
          </a:p>
        </p:txBody>
      </p:sp>
      <p:sp>
        <p:nvSpPr>
          <p:cNvPr id="16" name="Rechteck 15"/>
          <p:cNvSpPr/>
          <p:nvPr/>
        </p:nvSpPr>
        <p:spPr bwMode="auto">
          <a:xfrm>
            <a:off x="620889" y="2741332"/>
            <a:ext cx="7190988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17" name="Gerade Verbindung 16"/>
          <p:cNvCxnSpPr/>
          <p:nvPr/>
        </p:nvCxnSpPr>
        <p:spPr bwMode="auto">
          <a:xfrm>
            <a:off x="7811877" y="1574747"/>
            <a:ext cx="0" cy="29891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Gerade Verbindung 17"/>
          <p:cNvCxnSpPr/>
          <p:nvPr/>
        </p:nvCxnSpPr>
        <p:spPr bwMode="auto">
          <a:xfrm>
            <a:off x="2675457" y="1536932"/>
            <a:ext cx="0" cy="29891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Gerade Verbindung 18"/>
          <p:cNvCxnSpPr/>
          <p:nvPr/>
        </p:nvCxnSpPr>
        <p:spPr bwMode="auto">
          <a:xfrm>
            <a:off x="3702741" y="1562274"/>
            <a:ext cx="0" cy="29891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Textfeld 19"/>
          <p:cNvSpPr txBox="1"/>
          <p:nvPr/>
        </p:nvSpPr>
        <p:spPr>
          <a:xfrm>
            <a:off x="6095657" y="1393726"/>
            <a:ext cx="50407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 smtClean="0"/>
              <a:t>Sa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7110919" y="1393726"/>
            <a:ext cx="50407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 smtClean="0"/>
              <a:t>So</a:t>
            </a:r>
          </a:p>
        </p:txBody>
      </p:sp>
      <p:sp>
        <p:nvSpPr>
          <p:cNvPr id="22" name="Rechteck 21"/>
          <p:cNvSpPr/>
          <p:nvPr/>
        </p:nvSpPr>
        <p:spPr bwMode="auto">
          <a:xfrm>
            <a:off x="620889" y="3104121"/>
            <a:ext cx="5136420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3" name="Rechteck 22"/>
          <p:cNvSpPr/>
          <p:nvPr/>
        </p:nvSpPr>
        <p:spPr bwMode="auto">
          <a:xfrm>
            <a:off x="5757309" y="3466910"/>
            <a:ext cx="2054568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4" name="Rechteck 23"/>
          <p:cNvSpPr/>
          <p:nvPr/>
        </p:nvSpPr>
        <p:spPr bwMode="auto">
          <a:xfrm>
            <a:off x="1648173" y="4192488"/>
            <a:ext cx="5136420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5" name="Rechteck 24"/>
          <p:cNvSpPr/>
          <p:nvPr/>
        </p:nvSpPr>
        <p:spPr bwMode="auto">
          <a:xfrm>
            <a:off x="620889" y="3792241"/>
            <a:ext cx="1027284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6" name="Rechteck 25"/>
          <p:cNvSpPr/>
          <p:nvPr/>
        </p:nvSpPr>
        <p:spPr bwMode="auto">
          <a:xfrm>
            <a:off x="615047" y="4518998"/>
            <a:ext cx="1027284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7" name="Rechteck 26"/>
          <p:cNvSpPr/>
          <p:nvPr/>
        </p:nvSpPr>
        <p:spPr bwMode="auto">
          <a:xfrm>
            <a:off x="2675457" y="4518998"/>
            <a:ext cx="1027284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8" name="Rechteck 27"/>
          <p:cNvSpPr/>
          <p:nvPr/>
        </p:nvSpPr>
        <p:spPr bwMode="auto">
          <a:xfrm>
            <a:off x="4730024" y="4518998"/>
            <a:ext cx="1027284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9" name="Rechteck 28"/>
          <p:cNvSpPr/>
          <p:nvPr/>
        </p:nvSpPr>
        <p:spPr bwMode="auto">
          <a:xfrm>
            <a:off x="1648173" y="4918065"/>
            <a:ext cx="1027284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0" name="Rechteck 29"/>
          <p:cNvSpPr/>
          <p:nvPr/>
        </p:nvSpPr>
        <p:spPr bwMode="auto">
          <a:xfrm>
            <a:off x="3702741" y="4918065"/>
            <a:ext cx="1027284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1" name="Rechteck 30"/>
          <p:cNvSpPr/>
          <p:nvPr/>
        </p:nvSpPr>
        <p:spPr bwMode="auto">
          <a:xfrm>
            <a:off x="5757309" y="4918065"/>
            <a:ext cx="1027284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2" name="Rechteck 31"/>
          <p:cNvSpPr/>
          <p:nvPr/>
        </p:nvSpPr>
        <p:spPr bwMode="auto">
          <a:xfrm>
            <a:off x="6784593" y="4918065"/>
            <a:ext cx="1027284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33" name="Rechteck 32"/>
          <p:cNvSpPr/>
          <p:nvPr/>
        </p:nvSpPr>
        <p:spPr bwMode="auto">
          <a:xfrm>
            <a:off x="615047" y="2015424"/>
            <a:ext cx="5142261" cy="216317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rgbClr val="FF0000"/>
              </a:solidFill>
              <a:effectLst/>
              <a:latin typeface="DB Office" pitchFamily="34" charset="0"/>
            </a:endParaRPr>
          </a:p>
        </p:txBody>
      </p:sp>
      <p:sp>
        <p:nvSpPr>
          <p:cNvPr id="34" name="Rechteck 33"/>
          <p:cNvSpPr/>
          <p:nvPr/>
        </p:nvSpPr>
        <p:spPr bwMode="auto">
          <a:xfrm>
            <a:off x="5757308" y="2015423"/>
            <a:ext cx="1027285" cy="216317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rgbClr val="FF0000"/>
              </a:solidFill>
              <a:effectLst/>
              <a:latin typeface="DB Office" pitchFamily="34" charset="0"/>
            </a:endParaRPr>
          </a:p>
        </p:txBody>
      </p:sp>
      <p:sp>
        <p:nvSpPr>
          <p:cNvPr id="35" name="Rechteck 34"/>
          <p:cNvSpPr/>
          <p:nvPr/>
        </p:nvSpPr>
        <p:spPr bwMode="auto">
          <a:xfrm>
            <a:off x="6784593" y="2015424"/>
            <a:ext cx="1027285" cy="21631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rgbClr val="FF0000"/>
              </a:solidFill>
              <a:effectLst/>
              <a:latin typeface="DB Office" pitchFamily="34" charset="0"/>
            </a:endParaRPr>
          </a:p>
        </p:txBody>
      </p:sp>
      <p:cxnSp>
        <p:nvCxnSpPr>
          <p:cNvPr id="36" name="Gerade Verbindung 35"/>
          <p:cNvCxnSpPr/>
          <p:nvPr/>
        </p:nvCxnSpPr>
        <p:spPr bwMode="auto">
          <a:xfrm>
            <a:off x="5757309" y="2015423"/>
            <a:ext cx="1" cy="347872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Gerade Verbindung 36"/>
          <p:cNvCxnSpPr/>
          <p:nvPr/>
        </p:nvCxnSpPr>
        <p:spPr bwMode="auto">
          <a:xfrm>
            <a:off x="6784593" y="2015424"/>
            <a:ext cx="1" cy="347872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Gerade Verbindung 37"/>
          <p:cNvCxnSpPr>
            <a:endCxn id="26" idx="1"/>
          </p:cNvCxnSpPr>
          <p:nvPr/>
        </p:nvCxnSpPr>
        <p:spPr bwMode="auto">
          <a:xfrm flipH="1">
            <a:off x="615047" y="2015423"/>
            <a:ext cx="5842" cy="255765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Gerade Verbindung 38"/>
          <p:cNvCxnSpPr/>
          <p:nvPr/>
        </p:nvCxnSpPr>
        <p:spPr bwMode="auto">
          <a:xfrm>
            <a:off x="2670103" y="2015424"/>
            <a:ext cx="0" cy="3006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Gerade Verbindung 39"/>
          <p:cNvCxnSpPr/>
          <p:nvPr/>
        </p:nvCxnSpPr>
        <p:spPr bwMode="auto">
          <a:xfrm>
            <a:off x="3702741" y="2015821"/>
            <a:ext cx="0" cy="3006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Gerade Verbindung 40"/>
          <p:cNvCxnSpPr/>
          <p:nvPr/>
        </p:nvCxnSpPr>
        <p:spPr bwMode="auto">
          <a:xfrm>
            <a:off x="4730024" y="2020223"/>
            <a:ext cx="0" cy="3006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Gerade Verbindung 41"/>
          <p:cNvCxnSpPr/>
          <p:nvPr/>
        </p:nvCxnSpPr>
        <p:spPr bwMode="auto">
          <a:xfrm>
            <a:off x="7801251" y="2015423"/>
            <a:ext cx="0" cy="3006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3" name="Textfeld 42"/>
          <p:cNvSpPr txBox="1"/>
          <p:nvPr/>
        </p:nvSpPr>
        <p:spPr>
          <a:xfrm>
            <a:off x="8338813" y="3035089"/>
            <a:ext cx="6442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400" dirty="0" smtClean="0"/>
              <a:t>3.111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8338813" y="3397878"/>
            <a:ext cx="6442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400" dirty="0" smtClean="0"/>
              <a:t>106</a:t>
            </a:r>
          </a:p>
        </p:txBody>
      </p:sp>
      <p:sp>
        <p:nvSpPr>
          <p:cNvPr id="45" name="Rechteck 44"/>
          <p:cNvSpPr/>
          <p:nvPr/>
        </p:nvSpPr>
        <p:spPr bwMode="auto">
          <a:xfrm>
            <a:off x="6764576" y="3792241"/>
            <a:ext cx="1027284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46" name="Gerade Verbindung 45"/>
          <p:cNvCxnSpPr/>
          <p:nvPr/>
        </p:nvCxnSpPr>
        <p:spPr bwMode="auto">
          <a:xfrm>
            <a:off x="1648173" y="2020223"/>
            <a:ext cx="0" cy="3006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7" name="Textfeld 46"/>
          <p:cNvSpPr txBox="1"/>
          <p:nvPr/>
        </p:nvSpPr>
        <p:spPr>
          <a:xfrm>
            <a:off x="8338813" y="3760667"/>
            <a:ext cx="6442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400" dirty="0" smtClean="0"/>
              <a:t>13</a:t>
            </a:r>
          </a:p>
        </p:txBody>
      </p:sp>
      <p:sp>
        <p:nvSpPr>
          <p:cNvPr id="48" name="Textfeld 47"/>
          <p:cNvSpPr txBox="1"/>
          <p:nvPr/>
        </p:nvSpPr>
        <p:spPr>
          <a:xfrm>
            <a:off x="8338813" y="4123456"/>
            <a:ext cx="6442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400" dirty="0" smtClean="0"/>
              <a:t>1.089</a:t>
            </a:r>
          </a:p>
        </p:txBody>
      </p:sp>
      <p:sp>
        <p:nvSpPr>
          <p:cNvPr id="49" name="Textfeld 48"/>
          <p:cNvSpPr txBox="1"/>
          <p:nvPr/>
        </p:nvSpPr>
        <p:spPr>
          <a:xfrm>
            <a:off x="8338813" y="4849033"/>
            <a:ext cx="6442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400" dirty="0" smtClean="0"/>
              <a:t>1</a:t>
            </a:r>
          </a:p>
        </p:txBody>
      </p:sp>
      <p:sp>
        <p:nvSpPr>
          <p:cNvPr id="50" name="Textfeld 49"/>
          <p:cNvSpPr txBox="1"/>
          <p:nvPr/>
        </p:nvSpPr>
        <p:spPr>
          <a:xfrm>
            <a:off x="8338813" y="4486245"/>
            <a:ext cx="6442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400" dirty="0" smtClean="0"/>
              <a:t>330</a:t>
            </a:r>
          </a:p>
        </p:txBody>
      </p:sp>
      <p:sp>
        <p:nvSpPr>
          <p:cNvPr id="51" name="Textfeld 50"/>
          <p:cNvSpPr txBox="1"/>
          <p:nvPr/>
        </p:nvSpPr>
        <p:spPr>
          <a:xfrm>
            <a:off x="8090265" y="2681465"/>
            <a:ext cx="89280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400" dirty="0" smtClean="0"/>
              <a:t>666</a:t>
            </a:r>
          </a:p>
        </p:txBody>
      </p:sp>
      <p:sp>
        <p:nvSpPr>
          <p:cNvPr id="52" name="Textfeld 51"/>
          <p:cNvSpPr txBox="1"/>
          <p:nvPr/>
        </p:nvSpPr>
        <p:spPr>
          <a:xfrm>
            <a:off x="8190979" y="1903570"/>
            <a:ext cx="115216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 smtClean="0"/>
              <a:t>Anzahl Fahrlagen:</a:t>
            </a:r>
          </a:p>
        </p:txBody>
      </p:sp>
      <p:sp>
        <p:nvSpPr>
          <p:cNvPr id="53" name="Rechteck 52"/>
          <p:cNvSpPr/>
          <p:nvPr/>
        </p:nvSpPr>
        <p:spPr bwMode="auto">
          <a:xfrm>
            <a:off x="270099" y="5085220"/>
            <a:ext cx="3674620" cy="136811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rPr>
              <a:t>Legende:</a:t>
            </a:r>
          </a:p>
          <a:p>
            <a:pPr marR="0" indent="355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 err="1" smtClean="0">
                <a:solidFill>
                  <a:schemeClr val="tx1"/>
                </a:solidFill>
                <a:latin typeface="DB Office" pitchFamily="34" charset="0"/>
              </a:rPr>
              <a:t>Fahrlage</a:t>
            </a:r>
            <a:endParaRPr lang="de-DE" sz="1400" dirty="0" smtClean="0">
              <a:solidFill>
                <a:schemeClr val="tx1"/>
              </a:solidFill>
              <a:latin typeface="DB Office" pitchFamily="34" charset="0"/>
            </a:endParaRPr>
          </a:p>
          <a:p>
            <a:pPr marL="355600"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 smtClean="0">
                <a:solidFill>
                  <a:schemeClr val="tx1"/>
                </a:solidFill>
                <a:latin typeface="DB Office" pitchFamily="34" charset="0"/>
              </a:rPr>
              <a:t>Systemtrasse mit Schneideregeln</a:t>
            </a:r>
          </a:p>
          <a:p>
            <a:pPr marL="355600"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 smtClean="0">
                <a:solidFill>
                  <a:schemeClr val="tx1"/>
                </a:solidFill>
                <a:latin typeface="DB Office" pitchFamily="34" charset="0"/>
              </a:rPr>
              <a:t>Start- bzw. Endzeitpunkt einer </a:t>
            </a:r>
            <a:r>
              <a:rPr lang="de-DE" sz="1400" dirty="0" err="1" smtClean="0">
                <a:solidFill>
                  <a:schemeClr val="tx1"/>
                </a:solidFill>
                <a:latin typeface="DB Office" pitchFamily="34" charset="0"/>
              </a:rPr>
              <a:t>Fahrlage</a:t>
            </a:r>
            <a:endParaRPr lang="de-DE" sz="1400" dirty="0" smtClean="0">
              <a:solidFill>
                <a:schemeClr val="tx1"/>
              </a:solidFill>
              <a:latin typeface="DB Office" pitchFamily="34" charset="0"/>
            </a:endParaRPr>
          </a:p>
          <a:p>
            <a:pPr marL="355600"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 smtClean="0">
                <a:solidFill>
                  <a:schemeClr val="tx1"/>
                </a:solidFill>
                <a:latin typeface="DB Office" pitchFamily="34" charset="0"/>
              </a:rPr>
              <a:t>Schneideregeln für Fahrlagen und Systemtrassen</a:t>
            </a:r>
            <a:endParaRPr lang="de-DE" sz="1400" dirty="0">
              <a:solidFill>
                <a:schemeClr val="tx1"/>
              </a:solidFill>
              <a:latin typeface="DB Office" pitchFamily="34" charset="0"/>
            </a:endParaRPr>
          </a:p>
        </p:txBody>
      </p:sp>
      <p:sp>
        <p:nvSpPr>
          <p:cNvPr id="54" name="Rechteck 53"/>
          <p:cNvSpPr/>
          <p:nvPr/>
        </p:nvSpPr>
        <p:spPr bwMode="auto">
          <a:xfrm>
            <a:off x="371930" y="5409074"/>
            <a:ext cx="216030" cy="108158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grpSp>
        <p:nvGrpSpPr>
          <p:cNvPr id="55" name="Gruppieren 54"/>
          <p:cNvGrpSpPr/>
          <p:nvPr/>
        </p:nvGrpSpPr>
        <p:grpSpPr>
          <a:xfrm>
            <a:off x="388229" y="5625098"/>
            <a:ext cx="183432" cy="108158"/>
            <a:chOff x="377853" y="5220927"/>
            <a:chExt cx="183432" cy="108158"/>
          </a:xfrm>
        </p:grpSpPr>
        <p:sp>
          <p:nvSpPr>
            <p:cNvPr id="56" name="Rechteck 55"/>
            <p:cNvSpPr/>
            <p:nvPr/>
          </p:nvSpPr>
          <p:spPr bwMode="auto">
            <a:xfrm>
              <a:off x="377853" y="5220927"/>
              <a:ext cx="45719" cy="108158"/>
            </a:xfrm>
            <a:prstGeom prst="rect">
              <a:avLst/>
            </a:prstGeom>
            <a:solidFill>
              <a:schemeClr val="accent1">
                <a:lumMod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sp>
          <p:nvSpPr>
            <p:cNvPr id="57" name="Rechteck 56"/>
            <p:cNvSpPr/>
            <p:nvPr/>
          </p:nvSpPr>
          <p:spPr bwMode="auto">
            <a:xfrm>
              <a:off x="423572" y="5220927"/>
              <a:ext cx="45719" cy="10815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sp>
          <p:nvSpPr>
            <p:cNvPr id="58" name="Rechteck 57"/>
            <p:cNvSpPr/>
            <p:nvPr/>
          </p:nvSpPr>
          <p:spPr bwMode="auto">
            <a:xfrm>
              <a:off x="469291" y="5220927"/>
              <a:ext cx="45719" cy="108158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sp>
          <p:nvSpPr>
            <p:cNvPr id="59" name="Rechteck 58"/>
            <p:cNvSpPr/>
            <p:nvPr/>
          </p:nvSpPr>
          <p:spPr bwMode="auto">
            <a:xfrm>
              <a:off x="515566" y="5220927"/>
              <a:ext cx="45719" cy="108158"/>
            </a:xfrm>
            <a:prstGeom prst="rect">
              <a:avLst/>
            </a:prstGeom>
            <a:solidFill>
              <a:schemeClr val="accent1">
                <a:lumMod val="2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</p:grpSp>
      <p:cxnSp>
        <p:nvCxnSpPr>
          <p:cNvPr id="60" name="Gerade Verbindung 59"/>
          <p:cNvCxnSpPr/>
          <p:nvPr/>
        </p:nvCxnSpPr>
        <p:spPr bwMode="auto">
          <a:xfrm flipH="1" flipV="1">
            <a:off x="342747" y="5877272"/>
            <a:ext cx="274396" cy="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Gerade Verbindung 60"/>
          <p:cNvCxnSpPr/>
          <p:nvPr/>
        </p:nvCxnSpPr>
        <p:spPr bwMode="auto">
          <a:xfrm flipH="1" flipV="1">
            <a:off x="342747" y="6093296"/>
            <a:ext cx="27439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2" name="Textfeld 61"/>
          <p:cNvSpPr txBox="1"/>
          <p:nvPr/>
        </p:nvSpPr>
        <p:spPr>
          <a:xfrm>
            <a:off x="7542907" y="5634221"/>
            <a:ext cx="141224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Fahrlagen</a:t>
            </a:r>
            <a:br>
              <a:rPr lang="de-DE" sz="1400" dirty="0" smtClean="0">
                <a:solidFill>
                  <a:srgbClr val="000000"/>
                </a:solidFill>
                <a:latin typeface="DB Office"/>
              </a:rPr>
            </a:b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insgesamt: 14930</a:t>
            </a:r>
          </a:p>
        </p:txBody>
      </p:sp>
    </p:spTree>
    <p:extLst>
      <p:ext uri="{BB962C8B-B14F-4D97-AF65-F5344CB8AC3E}">
        <p14:creationId xmlns:p14="http://schemas.microsoft.com/office/powerpoint/2010/main" val="1664388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kt 6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9622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5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de-DE" sz="1200" u="none" strike="noStrike" cap="none" normalizeH="0" dirty="0" err="1" smtClean="0">
              <a:ln>
                <a:noFill/>
              </a:ln>
              <a:solidFill>
                <a:srgbClr val="FFFFFF"/>
              </a:solidFill>
              <a:effectLst/>
              <a:latin typeface="DB Office"/>
              <a:sym typeface="DB Office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8" y="403200"/>
            <a:ext cx="9012678" cy="792000"/>
          </a:xfrm>
        </p:spPr>
        <p:txBody>
          <a:bodyPr/>
          <a:lstStyle/>
          <a:p>
            <a:r>
              <a:rPr lang="de-DE" dirty="0"/>
              <a:t>Weitere Zustände ergeben sich bei Berücksichtigung der unterschiedlichen Verkehrstagesregelun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DB Netz AG | Patrick </a:t>
            </a:r>
            <a:r>
              <a:rPr lang="de-DE" dirty="0" err="1"/>
              <a:t>Breun</a:t>
            </a:r>
            <a:r>
              <a:rPr lang="de-DE" dirty="0"/>
              <a:t>, Jordis Wächter | Dresden | 18.12.2017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8165101" y="2204864"/>
            <a:ext cx="51616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>
                <a:solidFill>
                  <a:srgbClr val="000000"/>
                </a:solidFill>
                <a:latin typeface="DB Office"/>
              </a:rPr>
              <a:t>j</a:t>
            </a: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e &lt; 3%</a:t>
            </a:r>
          </a:p>
        </p:txBody>
      </p:sp>
      <p:cxnSp>
        <p:nvCxnSpPr>
          <p:cNvPr id="12" name="Gerade Verbindung 11"/>
          <p:cNvCxnSpPr>
            <a:endCxn id="7" idx="1"/>
          </p:cNvCxnSpPr>
          <p:nvPr/>
        </p:nvCxnSpPr>
        <p:spPr bwMode="auto">
          <a:xfrm flipV="1">
            <a:off x="7661045" y="2297197"/>
            <a:ext cx="504056" cy="33971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28" name="Diagramm 2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94711670"/>
              </p:ext>
            </p:extLst>
          </p:nvPr>
        </p:nvGraphicFramePr>
        <p:xfrm>
          <a:off x="1278211" y="1988840"/>
          <a:ext cx="6732748" cy="37444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4" name="Rechteck 33"/>
          <p:cNvSpPr/>
          <p:nvPr/>
        </p:nvSpPr>
        <p:spPr bwMode="auto">
          <a:xfrm>
            <a:off x="2286323" y="5877272"/>
            <a:ext cx="4320480" cy="360040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>
                <a:solidFill>
                  <a:srgbClr val="000000"/>
                </a:solidFill>
              </a:rPr>
              <a:t>Insgesamt </a:t>
            </a:r>
            <a:r>
              <a:rPr lang="de-DE" sz="1400" dirty="0" smtClean="0">
                <a:solidFill>
                  <a:srgbClr val="000000"/>
                </a:solidFill>
              </a:rPr>
              <a:t>wurden 104 </a:t>
            </a:r>
            <a:r>
              <a:rPr lang="de-DE" sz="1400" dirty="0">
                <a:solidFill>
                  <a:srgbClr val="000000"/>
                </a:solidFill>
              </a:rPr>
              <a:t>von 128 VTS nachgefragt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1350219" y="1721645"/>
            <a:ext cx="112486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Anzahl Anfragen</a:t>
            </a:r>
          </a:p>
        </p:txBody>
      </p:sp>
    </p:spTree>
    <p:extLst>
      <p:ext uri="{BB962C8B-B14F-4D97-AF65-F5344CB8AC3E}">
        <p14:creationId xmlns:p14="http://schemas.microsoft.com/office/powerpoint/2010/main" val="2531062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97999" y="403200"/>
            <a:ext cx="9504000" cy="792000"/>
          </a:xfrm>
        </p:spPr>
        <p:txBody>
          <a:bodyPr/>
          <a:lstStyle/>
          <a:p>
            <a:r>
              <a:rPr lang="de-DE" smtClean="0"/>
              <a:t>Agenda</a:t>
            </a:r>
            <a:endParaRPr lang="de-DE" dirty="0"/>
          </a:p>
        </p:txBody>
      </p:sp>
      <p:sp>
        <p:nvSpPr>
          <p:cNvPr id="78" name="Foliennummernplatzhalter 7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 smtClean="0"/>
              <a:t>DB Netz AG | Patrick </a:t>
            </a:r>
            <a:r>
              <a:rPr lang="de-DE" dirty="0" err="1" smtClean="0"/>
              <a:t>Breun</a:t>
            </a:r>
            <a:r>
              <a:rPr lang="de-DE" dirty="0" smtClean="0"/>
              <a:t>, Jordis Wächter | Dresden | 18.12.2017</a:t>
            </a:r>
            <a:endParaRPr lang="de-DE" dirty="0"/>
          </a:p>
        </p:txBody>
      </p:sp>
      <p:grpSp>
        <p:nvGrpSpPr>
          <p:cNvPr id="5" name="easyAgenda"/>
          <p:cNvGrpSpPr/>
          <p:nvPr/>
        </p:nvGrpSpPr>
        <p:grpSpPr>
          <a:xfrm>
            <a:off x="1929323" y="2492442"/>
            <a:ext cx="5540429" cy="2161214"/>
            <a:chOff x="1929323" y="3500542"/>
            <a:chExt cx="5540429" cy="2161214"/>
          </a:xfrm>
        </p:grpSpPr>
        <p:sp>
          <p:nvSpPr>
            <p:cNvPr id="15" name="2_Rahmen"/>
            <p:cNvSpPr/>
            <p:nvPr>
              <p:custDataLst>
                <p:tags r:id="rId3"/>
              </p:custDataLst>
            </p:nvPr>
          </p:nvSpPr>
          <p:spPr bwMode="gray">
            <a:xfrm>
              <a:off x="1929323" y="3500542"/>
              <a:ext cx="1007641" cy="2161214"/>
            </a:xfrm>
            <a:prstGeom prst="rect">
              <a:avLst/>
            </a:prstGeom>
            <a:solidFill>
              <a:srgbClr val="878C96"/>
            </a:solidFill>
            <a:ln w="9525" cap="flat" cmpd="sng" algn="ctr">
              <a:solidFill>
                <a:srgbClr val="878C96"/>
              </a:solidFill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4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0_Inhalt_Ebene1"/>
            <p:cNvSpPr/>
            <p:nvPr>
              <p:custDataLst>
                <p:tags r:id="rId4"/>
              </p:custDataLst>
            </p:nvPr>
          </p:nvSpPr>
          <p:spPr bwMode="gray">
            <a:xfrm>
              <a:off x="2433143" y="3646220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Offene Fragen / Diskussionsthemen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18" name="0_Seiten_Ebene1"/>
            <p:cNvSpPr txBox="1"/>
            <p:nvPr/>
          </p:nvSpPr>
          <p:spPr bwMode="gray">
            <a:xfrm>
              <a:off x="6965994" y="3716573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24" name="1_Inhalt_Ebene1"/>
            <p:cNvSpPr/>
            <p:nvPr>
              <p:custDataLst>
                <p:tags r:id="rId5"/>
              </p:custDataLst>
            </p:nvPr>
          </p:nvSpPr>
          <p:spPr bwMode="gray">
            <a:xfrm>
              <a:off x="2433143" y="4294546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nalyse der Fahrlagen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7" name="2_Inhalt_Ebene1_Highlight"/>
            <p:cNvSpPr/>
            <p:nvPr>
              <p:custDataLst>
                <p:tags r:id="rId6"/>
              </p:custDataLst>
            </p:nvPr>
          </p:nvSpPr>
          <p:spPr bwMode="gray">
            <a:xfrm>
              <a:off x="2433144" y="4942872"/>
              <a:ext cx="5036608" cy="576326"/>
            </a:xfrm>
            <a:prstGeom prst="rect">
              <a:avLst/>
            </a:prstGeom>
            <a:solidFill>
              <a:srgbClr val="E1E6EB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000000"/>
                  </a:solidFill>
                </a:rPr>
                <a:t>Beispiel Modellformulierung</a:t>
              </a:r>
              <a:endParaRPr lang="de-DE" sz="1600" b="1" dirty="0">
                <a:solidFill>
                  <a:srgbClr val="000000"/>
                </a:solidFill>
              </a:endParaRPr>
            </a:p>
          </p:txBody>
        </p:sp>
        <p:sp>
          <p:nvSpPr>
            <p:cNvPr id="28" name="1_Seiten_Ebene1"/>
            <p:cNvSpPr txBox="1"/>
            <p:nvPr/>
          </p:nvSpPr>
          <p:spPr bwMode="gray">
            <a:xfrm>
              <a:off x="6965994" y="4364899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1" name="2_Seiten_Ebene1_Highlight"/>
            <p:cNvSpPr txBox="1"/>
            <p:nvPr/>
          </p:nvSpPr>
          <p:spPr bwMode="gray">
            <a:xfrm>
              <a:off x="6965994" y="5008685"/>
              <a:ext cx="503758" cy="432000"/>
            </a:xfrm>
            <a:prstGeom prst="rect">
              <a:avLst/>
            </a:prstGeom>
            <a:noFill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b="1" dirty="0">
                <a:solidFill>
                  <a:srgbClr val="000000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652224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ögliche Modellformulierung im mehrtägigen Fall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DB Netz AG | Patrick </a:t>
            </a:r>
            <a:r>
              <a:rPr lang="de-DE" dirty="0" err="1"/>
              <a:t>Breun</a:t>
            </a:r>
            <a:r>
              <a:rPr lang="de-DE" dirty="0"/>
              <a:t>, Jordis Wächter | Dresden | 18.12.2017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/>
            <a:fld id="{52C6F6EA-6ADD-43B6-963C-85EF970B7263}" type="slidenum">
              <a:rPr>
                <a:solidFill>
                  <a:srgbClr val="000000"/>
                </a:solidFill>
              </a:rPr>
              <a:pPr algn="l"/>
              <a:t>26</a:t>
            </a:fld>
            <a:endParaRPr dirty="0">
              <a:solidFill>
                <a:srgbClr val="000000"/>
              </a:solidFill>
            </a:endParaRPr>
          </a:p>
        </p:txBody>
      </p:sp>
      <p:grpSp>
        <p:nvGrpSpPr>
          <p:cNvPr id="34" name="Gruppieren 33"/>
          <p:cNvGrpSpPr/>
          <p:nvPr/>
        </p:nvGrpSpPr>
        <p:grpSpPr>
          <a:xfrm>
            <a:off x="6379444" y="2069177"/>
            <a:ext cx="1721654" cy="2602440"/>
            <a:chOff x="196850" y="133917"/>
            <a:chExt cx="1721654" cy="2602440"/>
          </a:xfrm>
        </p:grpSpPr>
        <p:cxnSp>
          <p:nvCxnSpPr>
            <p:cNvPr id="5" name="Gerade Verbindung mit Pfeil 4"/>
            <p:cNvCxnSpPr/>
            <p:nvPr/>
          </p:nvCxnSpPr>
          <p:spPr bwMode="auto">
            <a:xfrm>
              <a:off x="772930" y="563249"/>
              <a:ext cx="583792" cy="814646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" name="Gerade Verbindung mit Pfeil 5"/>
            <p:cNvCxnSpPr/>
            <p:nvPr/>
          </p:nvCxnSpPr>
          <p:spPr bwMode="auto">
            <a:xfrm>
              <a:off x="1356722" y="617876"/>
              <a:ext cx="0" cy="76002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mit Pfeil 9"/>
            <p:cNvCxnSpPr/>
            <p:nvPr/>
          </p:nvCxnSpPr>
          <p:spPr bwMode="auto">
            <a:xfrm>
              <a:off x="1356722" y="1377896"/>
              <a:ext cx="0" cy="111224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mit Pfeil 12"/>
            <p:cNvCxnSpPr/>
            <p:nvPr/>
          </p:nvCxnSpPr>
          <p:spPr bwMode="auto">
            <a:xfrm>
              <a:off x="1356722" y="1377896"/>
              <a:ext cx="561782" cy="55612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mit Pfeil 16"/>
            <p:cNvCxnSpPr/>
            <p:nvPr/>
          </p:nvCxnSpPr>
          <p:spPr bwMode="auto">
            <a:xfrm flipH="1">
              <a:off x="1356722" y="1934016"/>
              <a:ext cx="561782" cy="55612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" name="Textfeld 22"/>
                <p:cNvSpPr txBox="1"/>
                <p:nvPr/>
              </p:nvSpPr>
              <p:spPr>
                <a:xfrm>
                  <a:off x="196850" y="133917"/>
                  <a:ext cx="576080" cy="21544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</m:sub>
                        </m:sSub>
                        <m:d>
                          <m:dPr>
                            <m:ctrlP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</m:e>
                        </m:d>
                      </m:oMath>
                    </m:oMathPara>
                  </a14:m>
                  <a:endParaRPr lang="de-DE" sz="1400" dirty="0" err="1" smtClean="0">
                    <a:solidFill>
                      <a:srgbClr val="000000"/>
                    </a:solidFill>
                  </a:endParaRPr>
                </a:p>
              </p:txBody>
            </p:sp>
          </mc:Choice>
          <mc:Fallback xmlns="">
            <p:sp>
              <p:nvSpPr>
                <p:cNvPr id="23" name="Textfeld 22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6850" y="133917"/>
                  <a:ext cx="576080" cy="215444"/>
                </a:xfrm>
                <a:prstGeom prst="rect">
                  <a:avLst/>
                </a:prstGeom>
                <a:blipFill rotWithShape="1">
                  <a:blip r:embed="rId3"/>
                  <a:stretch>
                    <a:fillRect l="-6383" b="-14286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" name="Textfeld 23"/>
                <p:cNvSpPr txBox="1"/>
                <p:nvPr/>
              </p:nvSpPr>
              <p:spPr>
                <a:xfrm>
                  <a:off x="196850" y="347805"/>
                  <a:ext cx="576080" cy="21544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d>
                          <m:dPr>
                            <m:ctrlP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0</m:t>
                            </m:r>
                          </m:e>
                        </m:d>
                      </m:oMath>
                    </m:oMathPara>
                  </a14:m>
                  <a:endParaRPr lang="de-DE" sz="1400" dirty="0" err="1" smtClean="0">
                    <a:solidFill>
                      <a:srgbClr val="000000"/>
                    </a:solidFill>
                  </a:endParaRPr>
                </a:p>
              </p:txBody>
            </p:sp>
          </mc:Choice>
          <mc:Fallback xmlns="">
            <p:sp>
              <p:nvSpPr>
                <p:cNvPr id="24" name="Textfeld 23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6850" y="347805"/>
                  <a:ext cx="576080" cy="215444"/>
                </a:xfrm>
                <a:prstGeom prst="rect">
                  <a:avLst/>
                </a:prstGeom>
                <a:blipFill rotWithShape="1">
                  <a:blip r:embed="rId4"/>
                  <a:stretch>
                    <a:fillRect l="-7447" b="-14286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" name="Textfeld 24"/>
                <p:cNvSpPr txBox="1"/>
                <p:nvPr/>
              </p:nvSpPr>
              <p:spPr>
                <a:xfrm>
                  <a:off x="196850" y="566816"/>
                  <a:ext cx="576080" cy="21544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  <m:d>
                          <m:dPr>
                            <m:ctrlP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0</m:t>
                            </m:r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</m:e>
                        </m:d>
                      </m:oMath>
                    </m:oMathPara>
                  </a14:m>
                  <a:endParaRPr lang="de-DE" sz="1400" dirty="0" err="1" smtClean="0">
                    <a:solidFill>
                      <a:srgbClr val="000000"/>
                    </a:solidFill>
                  </a:endParaRPr>
                </a:p>
              </p:txBody>
            </p:sp>
          </mc:Choice>
          <mc:Fallback xmlns="">
            <p:sp>
              <p:nvSpPr>
                <p:cNvPr id="25" name="Textfeld 2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6850" y="566816"/>
                  <a:ext cx="576080" cy="215444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 l="-7447" b="-14286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6" name="Textfeld 25"/>
                <p:cNvSpPr txBox="1"/>
                <p:nvPr/>
              </p:nvSpPr>
              <p:spPr>
                <a:xfrm>
                  <a:off x="1068682" y="347648"/>
                  <a:ext cx="576080" cy="21544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2</m:t>
                            </m:r>
                          </m:sub>
                        </m:sSub>
                        <m:d>
                          <m:dPr>
                            <m:ctrlP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0</m:t>
                            </m:r>
                          </m:e>
                        </m:d>
                      </m:oMath>
                    </m:oMathPara>
                  </a14:m>
                  <a:endParaRPr lang="de-DE" sz="1400" dirty="0" err="1" smtClean="0">
                    <a:solidFill>
                      <a:srgbClr val="000000"/>
                    </a:solidFill>
                  </a:endParaRPr>
                </a:p>
              </p:txBody>
            </p:sp>
          </mc:Choice>
          <mc:Fallback xmlns="">
            <p:sp>
              <p:nvSpPr>
                <p:cNvPr id="26" name="Textfeld 25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68682" y="347648"/>
                  <a:ext cx="576080" cy="215444"/>
                </a:xfrm>
                <a:prstGeom prst="rect">
                  <a:avLst/>
                </a:prstGeom>
                <a:blipFill rotWithShape="1">
                  <a:blip r:embed="rId6"/>
                  <a:stretch>
                    <a:fillRect l="-7447" b="-14286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8" name="Textfeld 27"/>
            <p:cNvSpPr txBox="1"/>
            <p:nvPr/>
          </p:nvSpPr>
          <p:spPr>
            <a:xfrm>
              <a:off x="1139310" y="2490136"/>
              <a:ext cx="426839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solidFill>
                    <a:srgbClr val="000000"/>
                  </a:solidFill>
                </a:rPr>
                <a:t>Ziel</a:t>
              </a:r>
            </a:p>
          </p:txBody>
        </p:sp>
        <p:sp>
          <p:nvSpPr>
            <p:cNvPr id="29" name="Textfeld 28"/>
            <p:cNvSpPr txBox="1"/>
            <p:nvPr/>
          </p:nvSpPr>
          <p:spPr>
            <a:xfrm>
              <a:off x="1422129" y="782260"/>
              <a:ext cx="113814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30" name="Textfeld 29"/>
            <p:cNvSpPr txBox="1"/>
            <p:nvPr/>
          </p:nvSpPr>
          <p:spPr>
            <a:xfrm>
              <a:off x="951012" y="934660"/>
              <a:ext cx="113814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31" name="Textfeld 30"/>
            <p:cNvSpPr txBox="1"/>
            <p:nvPr/>
          </p:nvSpPr>
          <p:spPr>
            <a:xfrm>
              <a:off x="1236305" y="1772770"/>
              <a:ext cx="113814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1587855" y="1377896"/>
              <a:ext cx="113814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1740375" y="2132820"/>
              <a:ext cx="113814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solidFill>
                    <a:srgbClr val="000000"/>
                  </a:solidFill>
                </a:rPr>
                <a:t>5</a:t>
              </a:r>
            </a:p>
          </p:txBody>
        </p:sp>
      </p:grpSp>
      <p:sp>
        <p:nvSpPr>
          <p:cNvPr id="35" name="Textfeld 34"/>
          <p:cNvSpPr txBox="1"/>
          <p:nvPr/>
        </p:nvSpPr>
        <p:spPr>
          <a:xfrm>
            <a:off x="6381926" y="4874531"/>
            <a:ext cx="187995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 smtClean="0">
                <a:solidFill>
                  <a:srgbClr val="000000"/>
                </a:solidFill>
              </a:rPr>
              <a:t>Die Systemtrassen seien täglich verfügbar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342107" y="1448490"/>
            <a:ext cx="725493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400" b="1" dirty="0" smtClean="0">
                <a:solidFill>
                  <a:srgbClr val="FF0000"/>
                </a:solidFill>
              </a:rPr>
              <a:t>2-tägiges Beispiel (Bit-Schlüssel geben die Verkehrstage einer Fahrlagenvariante an) </a:t>
            </a:r>
          </a:p>
        </p:txBody>
      </p:sp>
      <p:cxnSp>
        <p:nvCxnSpPr>
          <p:cNvPr id="9" name="Gerade Verbindung 8"/>
          <p:cNvCxnSpPr/>
          <p:nvPr/>
        </p:nvCxnSpPr>
        <p:spPr bwMode="auto">
          <a:xfrm>
            <a:off x="342107" y="1700808"/>
            <a:ext cx="849694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" name="Rectangle 65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558131" y="2516012"/>
            <a:ext cx="4536504" cy="1840507"/>
          </a:xfrm>
          <a:prstGeom prst="rect">
            <a:avLst/>
          </a:prstGeom>
          <a:ln w="9525">
            <a:solidFill>
              <a:srgbClr val="C8CDD2"/>
            </a:solidFill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 smtClean="0">
                <a:solidFill>
                  <a:srgbClr val="000000"/>
                </a:solidFill>
                <a:latin typeface="DB Office"/>
              </a:rPr>
              <a:t>Fahrlage</a:t>
            </a:r>
            <a:r>
              <a:rPr lang="de-DE" dirty="0" smtClean="0">
                <a:solidFill>
                  <a:srgbClr val="000000"/>
                </a:solidFill>
                <a:latin typeface="DB Office"/>
              </a:rPr>
              <a:t> 1 besteht aus zwei Partitionen</a:t>
            </a:r>
          </a:p>
          <a:p>
            <a:pPr lvl="2"/>
            <a:r>
              <a:rPr lang="de-DE" dirty="0" smtClean="0">
                <a:solidFill>
                  <a:srgbClr val="000000"/>
                </a:solidFill>
                <a:latin typeface="DB Office"/>
              </a:rPr>
              <a:t>Partition 1 bestehend aus FLG-Variante x</a:t>
            </a:r>
            <a:r>
              <a:rPr lang="de-DE" baseline="-25000" dirty="0" smtClean="0">
                <a:solidFill>
                  <a:srgbClr val="000000"/>
                </a:solidFill>
                <a:latin typeface="DB Office"/>
              </a:rPr>
              <a:t>1</a:t>
            </a:r>
            <a:r>
              <a:rPr lang="de-DE" dirty="0" smtClean="0">
                <a:solidFill>
                  <a:srgbClr val="000000"/>
                </a:solidFill>
                <a:latin typeface="DB Office"/>
              </a:rPr>
              <a:t> (verkehrt an beiden Tagen)</a:t>
            </a:r>
          </a:p>
          <a:p>
            <a:pPr lvl="2"/>
            <a:r>
              <a:rPr lang="de-DE" dirty="0" smtClean="0">
                <a:solidFill>
                  <a:srgbClr val="000000"/>
                </a:solidFill>
                <a:latin typeface="DB Office"/>
              </a:rPr>
              <a:t>Partition 2 bestehend aus FLG-Variante x</a:t>
            </a:r>
            <a:r>
              <a:rPr lang="de-DE" baseline="-25000" dirty="0" smtClean="0">
                <a:solidFill>
                  <a:srgbClr val="000000"/>
                </a:solidFill>
                <a:latin typeface="DB Office"/>
              </a:rPr>
              <a:t>3</a:t>
            </a:r>
            <a:r>
              <a:rPr lang="de-DE" dirty="0" smtClean="0">
                <a:solidFill>
                  <a:srgbClr val="000000"/>
                </a:solidFill>
                <a:latin typeface="DB Office"/>
              </a:rPr>
              <a:t> (verkehrt am 1. Tag) und x</a:t>
            </a:r>
            <a:r>
              <a:rPr lang="de-DE" baseline="-25000" dirty="0" smtClean="0">
                <a:solidFill>
                  <a:srgbClr val="000000"/>
                </a:solidFill>
                <a:latin typeface="DB Office"/>
              </a:rPr>
              <a:t>4</a:t>
            </a:r>
            <a:r>
              <a:rPr lang="de-DE" dirty="0" smtClean="0">
                <a:solidFill>
                  <a:srgbClr val="000000"/>
                </a:solidFill>
                <a:latin typeface="DB Office"/>
              </a:rPr>
              <a:t> (verkehrt am 2. Tag)</a:t>
            </a:r>
          </a:p>
          <a:p>
            <a:pPr lvl="1"/>
            <a:r>
              <a:rPr lang="de-DE" dirty="0" err="1" smtClean="0">
                <a:solidFill>
                  <a:srgbClr val="000000"/>
                </a:solidFill>
                <a:latin typeface="DB Office"/>
              </a:rPr>
              <a:t>Fahrlage</a:t>
            </a:r>
            <a:r>
              <a:rPr lang="de-DE" dirty="0" smtClean="0">
                <a:solidFill>
                  <a:srgbClr val="000000"/>
                </a:solidFill>
                <a:latin typeface="DB Office"/>
              </a:rPr>
              <a:t> 2 besteht aus einer Partition, welche nur FLG-Variante x</a:t>
            </a:r>
            <a:r>
              <a:rPr lang="de-DE" baseline="-25000" dirty="0" smtClean="0">
                <a:solidFill>
                  <a:srgbClr val="000000"/>
                </a:solidFill>
                <a:latin typeface="DB Office"/>
              </a:rPr>
              <a:t>2</a:t>
            </a:r>
            <a:r>
              <a:rPr lang="de-DE" dirty="0" smtClean="0">
                <a:solidFill>
                  <a:srgbClr val="000000"/>
                </a:solidFill>
                <a:latin typeface="DB Office"/>
              </a:rPr>
              <a:t> (verkehrt nur am 1. Tag) enthält </a:t>
            </a:r>
          </a:p>
        </p:txBody>
      </p:sp>
    </p:spTree>
    <p:extLst>
      <p:ext uri="{BB962C8B-B14F-4D97-AF65-F5344CB8AC3E}">
        <p14:creationId xmlns:p14="http://schemas.microsoft.com/office/powerpoint/2010/main" val="4206144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DB Netz AG | Patrick </a:t>
            </a:r>
            <a:r>
              <a:rPr lang="de-DE" dirty="0" err="1"/>
              <a:t>Breun</a:t>
            </a:r>
            <a:r>
              <a:rPr lang="de-DE" dirty="0"/>
              <a:t>, Jordis Wächter | Dresden | 18.12.2017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/>
            <a:fld id="{52C6F6EA-6ADD-43B6-963C-85EF970B7263}" type="slidenum">
              <a:rPr>
                <a:solidFill>
                  <a:srgbClr val="000000"/>
                </a:solidFill>
              </a:rPr>
              <a:pPr algn="l"/>
              <a:t>27</a:t>
            </a:fld>
            <a:endParaRPr dirty="0">
              <a:solidFill>
                <a:srgbClr val="000000"/>
              </a:solidFill>
            </a:endParaRPr>
          </a:p>
        </p:txBody>
      </p:sp>
      <p:grpSp>
        <p:nvGrpSpPr>
          <p:cNvPr id="34" name="Gruppieren 33"/>
          <p:cNvGrpSpPr/>
          <p:nvPr/>
        </p:nvGrpSpPr>
        <p:grpSpPr>
          <a:xfrm>
            <a:off x="432385" y="449540"/>
            <a:ext cx="1721654" cy="2602440"/>
            <a:chOff x="196850" y="133917"/>
            <a:chExt cx="1721654" cy="2602440"/>
          </a:xfrm>
        </p:grpSpPr>
        <p:cxnSp>
          <p:nvCxnSpPr>
            <p:cNvPr id="5" name="Gerade Verbindung mit Pfeil 4"/>
            <p:cNvCxnSpPr/>
            <p:nvPr/>
          </p:nvCxnSpPr>
          <p:spPr bwMode="auto">
            <a:xfrm>
              <a:off x="772930" y="563249"/>
              <a:ext cx="583792" cy="814646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" name="Gerade Verbindung mit Pfeil 5"/>
            <p:cNvCxnSpPr/>
            <p:nvPr/>
          </p:nvCxnSpPr>
          <p:spPr bwMode="auto">
            <a:xfrm>
              <a:off x="1356722" y="617876"/>
              <a:ext cx="0" cy="76002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mit Pfeil 9"/>
            <p:cNvCxnSpPr/>
            <p:nvPr/>
          </p:nvCxnSpPr>
          <p:spPr bwMode="auto">
            <a:xfrm>
              <a:off x="1356722" y="1377896"/>
              <a:ext cx="0" cy="111224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mit Pfeil 12"/>
            <p:cNvCxnSpPr/>
            <p:nvPr/>
          </p:nvCxnSpPr>
          <p:spPr bwMode="auto">
            <a:xfrm>
              <a:off x="1356722" y="1377896"/>
              <a:ext cx="561782" cy="55612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mit Pfeil 16"/>
            <p:cNvCxnSpPr/>
            <p:nvPr/>
          </p:nvCxnSpPr>
          <p:spPr bwMode="auto">
            <a:xfrm flipH="1">
              <a:off x="1356722" y="1934016"/>
              <a:ext cx="561782" cy="55612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" name="Textfeld 22"/>
                <p:cNvSpPr txBox="1"/>
                <p:nvPr/>
              </p:nvSpPr>
              <p:spPr>
                <a:xfrm>
                  <a:off x="196850" y="133917"/>
                  <a:ext cx="576080" cy="21544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</m:sub>
                        </m:sSub>
                        <m:d>
                          <m:dPr>
                            <m:ctrlP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</m:e>
                        </m:d>
                      </m:oMath>
                    </m:oMathPara>
                  </a14:m>
                  <a:endParaRPr lang="de-DE" sz="1400" dirty="0" err="1" smtClean="0">
                    <a:solidFill>
                      <a:srgbClr val="000000"/>
                    </a:solidFill>
                  </a:endParaRPr>
                </a:p>
              </p:txBody>
            </p:sp>
          </mc:Choice>
          <mc:Fallback xmlns="">
            <p:sp>
              <p:nvSpPr>
                <p:cNvPr id="23" name="Textfeld 22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6850" y="133917"/>
                  <a:ext cx="576080" cy="215444"/>
                </a:xfrm>
                <a:prstGeom prst="rect">
                  <a:avLst/>
                </a:prstGeom>
                <a:blipFill rotWithShape="1">
                  <a:blip r:embed="rId2"/>
                  <a:stretch>
                    <a:fillRect l="-6383" b="-14286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" name="Textfeld 23"/>
                <p:cNvSpPr txBox="1"/>
                <p:nvPr/>
              </p:nvSpPr>
              <p:spPr>
                <a:xfrm>
                  <a:off x="196850" y="347805"/>
                  <a:ext cx="576080" cy="21544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d>
                          <m:dPr>
                            <m:ctrlP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0</m:t>
                            </m:r>
                          </m:e>
                        </m:d>
                      </m:oMath>
                    </m:oMathPara>
                  </a14:m>
                  <a:endParaRPr lang="de-DE" sz="1400" dirty="0" err="1" smtClean="0">
                    <a:solidFill>
                      <a:srgbClr val="000000"/>
                    </a:solidFill>
                  </a:endParaRPr>
                </a:p>
              </p:txBody>
            </p:sp>
          </mc:Choice>
          <mc:Fallback xmlns="">
            <p:sp>
              <p:nvSpPr>
                <p:cNvPr id="24" name="Textfeld 23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6850" y="347805"/>
                  <a:ext cx="576080" cy="215444"/>
                </a:xfrm>
                <a:prstGeom prst="rect">
                  <a:avLst/>
                </a:prstGeom>
                <a:blipFill rotWithShape="1">
                  <a:blip r:embed="rId3"/>
                  <a:stretch>
                    <a:fillRect l="-7447" b="-14286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" name="Textfeld 24"/>
                <p:cNvSpPr txBox="1"/>
                <p:nvPr/>
              </p:nvSpPr>
              <p:spPr>
                <a:xfrm>
                  <a:off x="196850" y="566816"/>
                  <a:ext cx="576080" cy="21544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  <m:d>
                          <m:dPr>
                            <m:ctrlP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0</m:t>
                            </m:r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</m:e>
                        </m:d>
                      </m:oMath>
                    </m:oMathPara>
                  </a14:m>
                  <a:endParaRPr lang="de-DE" sz="1400" dirty="0" err="1" smtClean="0">
                    <a:solidFill>
                      <a:srgbClr val="000000"/>
                    </a:solidFill>
                  </a:endParaRPr>
                </a:p>
              </p:txBody>
            </p:sp>
          </mc:Choice>
          <mc:Fallback xmlns="">
            <p:sp>
              <p:nvSpPr>
                <p:cNvPr id="25" name="Textfeld 2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6850" y="566816"/>
                  <a:ext cx="576080" cy="215444"/>
                </a:xfrm>
                <a:prstGeom prst="rect">
                  <a:avLst/>
                </a:prstGeom>
                <a:blipFill rotWithShape="1">
                  <a:blip r:embed="rId4"/>
                  <a:stretch>
                    <a:fillRect l="-7447" b="-14286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6" name="Textfeld 25"/>
                <p:cNvSpPr txBox="1"/>
                <p:nvPr/>
              </p:nvSpPr>
              <p:spPr>
                <a:xfrm>
                  <a:off x="1068682" y="347648"/>
                  <a:ext cx="576080" cy="21544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2</m:t>
                            </m:r>
                          </m:sub>
                        </m:sSub>
                        <m:d>
                          <m:dPr>
                            <m:ctrlP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0</m:t>
                            </m:r>
                          </m:e>
                        </m:d>
                      </m:oMath>
                    </m:oMathPara>
                  </a14:m>
                  <a:endParaRPr lang="de-DE" sz="1400" dirty="0" err="1" smtClean="0">
                    <a:solidFill>
                      <a:srgbClr val="000000"/>
                    </a:solidFill>
                  </a:endParaRPr>
                </a:p>
              </p:txBody>
            </p:sp>
          </mc:Choice>
          <mc:Fallback xmlns="">
            <p:sp>
              <p:nvSpPr>
                <p:cNvPr id="26" name="Textfeld 25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68682" y="347648"/>
                  <a:ext cx="576080" cy="215444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 l="-7447" b="-14286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8" name="Textfeld 27"/>
            <p:cNvSpPr txBox="1"/>
            <p:nvPr/>
          </p:nvSpPr>
          <p:spPr>
            <a:xfrm>
              <a:off x="1139310" y="2490136"/>
              <a:ext cx="426839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solidFill>
                    <a:srgbClr val="000000"/>
                  </a:solidFill>
                </a:rPr>
                <a:t>Ziel</a:t>
              </a:r>
            </a:p>
          </p:txBody>
        </p:sp>
        <p:sp>
          <p:nvSpPr>
            <p:cNvPr id="29" name="Textfeld 28"/>
            <p:cNvSpPr txBox="1"/>
            <p:nvPr/>
          </p:nvSpPr>
          <p:spPr>
            <a:xfrm>
              <a:off x="1422129" y="782260"/>
              <a:ext cx="113814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30" name="Textfeld 29"/>
            <p:cNvSpPr txBox="1"/>
            <p:nvPr/>
          </p:nvSpPr>
          <p:spPr>
            <a:xfrm>
              <a:off x="951012" y="934660"/>
              <a:ext cx="113814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31" name="Textfeld 30"/>
            <p:cNvSpPr txBox="1"/>
            <p:nvPr/>
          </p:nvSpPr>
          <p:spPr>
            <a:xfrm>
              <a:off x="1236305" y="1772770"/>
              <a:ext cx="113814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1587855" y="1377896"/>
              <a:ext cx="113814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1740375" y="2132820"/>
              <a:ext cx="113814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solidFill>
                    <a:srgbClr val="000000"/>
                  </a:solidFill>
                </a:rPr>
                <a:t>5</a:t>
              </a:r>
            </a:p>
          </p:txBody>
        </p:sp>
      </p:grpSp>
      <p:sp>
        <p:nvSpPr>
          <p:cNvPr id="35" name="Textfeld 34"/>
          <p:cNvSpPr txBox="1"/>
          <p:nvPr/>
        </p:nvSpPr>
        <p:spPr>
          <a:xfrm>
            <a:off x="434867" y="3254894"/>
            <a:ext cx="187995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 smtClean="0">
                <a:solidFill>
                  <a:srgbClr val="000000"/>
                </a:solidFill>
              </a:rPr>
              <a:t>Die Systemtrassen seien täglich verfügba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6" name="Rechteck 35"/>
              <p:cNvSpPr/>
              <p:nvPr/>
            </p:nvSpPr>
            <p:spPr bwMode="auto">
              <a:xfrm>
                <a:off x="2286249" y="2688789"/>
                <a:ext cx="6264870" cy="1820361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1600" dirty="0" smtClean="0">
                    <a:solidFill>
                      <a:srgbClr val="000000"/>
                    </a:solidFill>
                  </a:rPr>
                  <a:t>Tag 2:</a:t>
                </a: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1600" dirty="0" smtClean="0">
                    <a:solidFill>
                      <a:srgbClr val="408335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>
                            <a:solidFill>
                              <a:srgbClr val="408335"/>
                            </a:solidFill>
                            <a:latin typeface="Cambria Math"/>
                          </a:rPr>
                        </m:ctrlPr>
                      </m:sSubPr>
                      <m:e>
                        <m:r>
                          <a:rPr lang="de-DE" sz="1600" i="1">
                            <a:solidFill>
                              <a:srgbClr val="408335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600" i="1">
                            <a:solidFill>
                              <a:srgbClr val="408335"/>
                            </a:solidFill>
                            <a:latin typeface="Cambria Math"/>
                          </a:rPr>
                          <m:t>1</m:t>
                        </m:r>
                        <m:r>
                          <a:rPr lang="de-DE" sz="1600" i="1">
                            <a:solidFill>
                              <a:srgbClr val="408335"/>
                            </a:solidFill>
                            <a:latin typeface="Cambria Math"/>
                          </a:rPr>
                          <m:t>,</m:t>
                        </m:r>
                        <m:r>
                          <a:rPr lang="de-DE" sz="1600" i="1">
                            <a:solidFill>
                              <a:srgbClr val="408335"/>
                            </a:solidFill>
                            <a:latin typeface="Cambria Math"/>
                          </a:rPr>
                          <m:t>2</m:t>
                        </m:r>
                      </m:sub>
                    </m:sSub>
                    <m:r>
                      <a:rPr lang="de-DE" sz="1600" i="1">
                        <a:solidFill>
                          <a:srgbClr val="408335"/>
                        </a:solidFill>
                        <a:latin typeface="Cambria Math"/>
                        <a:ea typeface="Cambria Math"/>
                      </a:rPr>
                      <m:t>∧</m:t>
                    </m:r>
                    <m:d>
                      <m:dPr>
                        <m:ctrlPr>
                          <a:rPr lang="de-DE" sz="1600" i="1">
                            <a:solidFill>
                              <a:srgbClr val="408335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408335"/>
                            </a:solidFill>
                            <a:latin typeface="Cambria Math"/>
                            <a:ea typeface="Cambria Math"/>
                          </a:rPr>
                          <m:t>∨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408335"/>
                        </a:solidFill>
                        <a:latin typeface="Cambria Math"/>
                        <a:ea typeface="Cambria Math"/>
                      </a:rPr>
                      <m:t>∧</m:t>
                    </m:r>
                    <m:d>
                      <m:dPr>
                        <m:ctrlPr>
                          <a:rPr lang="de-DE" sz="1600" i="1">
                            <a:solidFill>
                              <a:srgbClr val="408335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408335"/>
                            </a:solidFill>
                            <a:latin typeface="Cambria Math"/>
                            <a:ea typeface="Cambria Math"/>
                          </a:rPr>
                          <m:t>∨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5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408335"/>
                        </a:solidFill>
                        <a:latin typeface="Cambria Math"/>
                        <a:ea typeface="Cambria Math"/>
                      </a:rPr>
                      <m:t>∧</m:t>
                    </m:r>
                    <m:d>
                      <m:dPr>
                        <m:ctrlPr>
                          <a:rPr lang="de-DE" sz="1600" i="1">
                            <a:solidFill>
                              <a:srgbClr val="408335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408335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408335"/>
                        </a:solidFill>
                        <a:latin typeface="Cambria Math"/>
                        <a:ea typeface="Cambria Math"/>
                      </a:rPr>
                      <m:t>∧</m:t>
                    </m:r>
                    <m:d>
                      <m:dPr>
                        <m:ctrlPr>
                          <a:rPr lang="de-DE" sz="1600" i="1">
                            <a:solidFill>
                              <a:srgbClr val="408335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408335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5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endParaRPr lang="de-DE" sz="1600" dirty="0" smtClean="0">
                  <a:solidFill>
                    <a:srgbClr val="000000"/>
                  </a:solidFill>
                </a:endParaRP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1600" dirty="0" smtClean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Pr>
                      <m:e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𝑥</m:t>
                        </m:r>
                      </m:e>
                      <m:sub>
                        <m:r>
                          <a:rPr lang="de-DE" sz="1600" i="1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4</m:t>
                        </m:r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  <m:t>,</m:t>
                        </m:r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</m:sSub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5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5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endParaRPr lang="de-DE" sz="1600" i="1" dirty="0" smtClean="0">
                  <a:solidFill>
                    <a:srgbClr val="000000"/>
                  </a:solidFill>
                  <a:latin typeface="Cambria Math"/>
                  <a:ea typeface="Cambria Math"/>
                </a:endParaRP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1600" dirty="0" smtClean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endParaRPr lang="de-DE" sz="1600" i="1" dirty="0" smtClean="0">
                  <a:solidFill>
                    <a:srgbClr val="000000"/>
                  </a:solidFill>
                  <a:latin typeface="Cambria Math"/>
                  <a:ea typeface="Cambria Math"/>
                </a:endParaRP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1600" dirty="0" smtClean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endParaRPr lang="de-DE" sz="1600" i="1" dirty="0" smtClean="0">
                  <a:solidFill>
                    <a:srgbClr val="000000"/>
                  </a:solidFill>
                  <a:latin typeface="Cambria Math"/>
                  <a:ea typeface="Cambria Math"/>
                </a:endParaRP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1600" dirty="0" smtClean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5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5</m:t>
                            </m:r>
                          </m:sub>
                        </m:sSub>
                      </m:e>
                    </m:d>
                  </m:oMath>
                </a14:m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36" name="Rechteck 3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286249" y="2688789"/>
                <a:ext cx="6264870" cy="1820361"/>
              </a:xfrm>
              <a:prstGeom prst="rect">
                <a:avLst/>
              </a:prstGeom>
              <a:blipFill rotWithShape="1">
                <a:blip r:embed="rId6"/>
                <a:stretch>
                  <a:fillRect l="-678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7" name="Rechteck 36"/>
              <p:cNvSpPr/>
              <p:nvPr/>
            </p:nvSpPr>
            <p:spPr bwMode="auto">
              <a:xfrm>
                <a:off x="2286249" y="628787"/>
                <a:ext cx="6222347" cy="1936093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1600" dirty="0" smtClean="0">
                    <a:solidFill>
                      <a:srgbClr val="000000"/>
                    </a:solidFill>
                  </a:rPr>
                  <a:t>Tag 1:</a:t>
                </a:r>
              </a:p>
              <a:p>
                <a:pPr algn="just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i="1" smtClean="0">
                              <a:solidFill>
                                <a:srgbClr val="408335"/>
                              </a:solidFill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sz="1600" i="1" smtClean="0">
                              <a:solidFill>
                                <a:srgbClr val="408335"/>
                              </a:solidFill>
                              <a:latin typeface="Cambria Math"/>
                            </a:rPr>
                            <m:t>𝑥</m:t>
                          </m:r>
                        </m:e>
                        <m:sub>
                          <m:r>
                            <a:rPr lang="de-DE" sz="1600" i="1" smtClean="0">
                              <a:solidFill>
                                <a:srgbClr val="408335"/>
                              </a:solidFill>
                              <a:latin typeface="Cambria Math"/>
                            </a:rPr>
                            <m:t>1</m:t>
                          </m:r>
                          <m:r>
                            <a:rPr lang="de-DE" sz="1600" i="1" smtClean="0">
                              <a:solidFill>
                                <a:srgbClr val="408335"/>
                              </a:solidFill>
                              <a:latin typeface="Cambria Math"/>
                            </a:rPr>
                            <m:t>,</m:t>
                          </m:r>
                          <m:r>
                            <a:rPr lang="de-DE" sz="1600" i="1" smtClean="0">
                              <a:solidFill>
                                <a:srgbClr val="408335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</m:sSub>
                      <m:r>
                        <a:rPr lang="de-DE" sz="1600" i="1" smtClean="0">
                          <a:solidFill>
                            <a:srgbClr val="408335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 smtClean="0">
                              <a:solidFill>
                                <a:srgbClr val="408335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1</m:t>
                              </m:r>
                              <m: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 smtClean="0">
                              <a:solidFill>
                                <a:srgbClr val="408335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1</m:t>
                              </m:r>
                              <m: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4</m:t>
                              </m:r>
                            </m:sub>
                          </m:sSub>
                        </m:e>
                      </m:d>
                      <m:r>
                        <a:rPr lang="de-DE" sz="1600" i="1" smtClean="0">
                          <a:solidFill>
                            <a:srgbClr val="408335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408335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1</m:t>
                              </m:r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408335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1</m:t>
                              </m:r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5</m:t>
                              </m:r>
                            </m:sub>
                          </m:sSub>
                        </m:e>
                      </m:d>
                      <m:r>
                        <a:rPr lang="de-DE" sz="1600" i="1" smtClean="0">
                          <a:solidFill>
                            <a:srgbClr val="408335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408335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1</m:t>
                              </m:r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408335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r>
                            <a:rPr lang="de-DE" sz="1600" i="1" smtClean="0">
                              <a:solidFill>
                                <a:srgbClr val="408335"/>
                              </a:solidFill>
                              <a:latin typeface="Cambria Math"/>
                              <a:ea typeface="Cambria Math"/>
                            </a:rPr>
                            <m:t>¬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1</m:t>
                              </m:r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4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408335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408335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1</m:t>
                              </m:r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408335"/>
                              </a:solidFill>
                              <a:latin typeface="Cambria Math"/>
                              <a:ea typeface="Cambria Math"/>
                            </a:rPr>
                            <m:t>∨¬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1</m:t>
                              </m:r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5</m:t>
                              </m:r>
                            </m:sub>
                          </m:sSub>
                        </m:e>
                      </m:d>
                      <m:r>
                        <a:rPr lang="de-DE" sz="1600" i="1" smtClean="0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</m:oMath>
                  </m:oMathPara>
                </a14:m>
                <a:endParaRPr lang="de-DE" sz="1600" i="1" dirty="0" smtClean="0">
                  <a:solidFill>
                    <a:srgbClr val="000000"/>
                  </a:solidFill>
                  <a:latin typeface="Cambria Math"/>
                  <a:ea typeface="Cambria Math"/>
                </a:endParaRPr>
              </a:p>
              <a:p>
                <a:pPr algn="just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sz="1600" i="1" smtClean="0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𝑥</m:t>
                          </m:r>
                        </m:e>
                        <m:sub>
                          <m:r>
                            <a:rPr lang="de-DE" sz="1600" i="1" smtClea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3</m:t>
                          </m:r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</m:sSub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4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5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¬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4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¬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5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</m:oMath>
                  </m:oMathPara>
                </a14:m>
                <a:endParaRPr lang="de-DE" sz="1600" i="1" dirty="0">
                  <a:solidFill>
                    <a:srgbClr val="000000"/>
                  </a:solidFill>
                  <a:latin typeface="Cambria Math"/>
                  <a:ea typeface="Cambria Math"/>
                </a:endParaRPr>
              </a:p>
              <a:p>
                <a:pPr algn="just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𝑥</m:t>
                          </m:r>
                        </m:e>
                        <m:sub>
                          <m:r>
                            <a:rPr lang="de-DE" sz="1600" i="1" smtClean="0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2</m:t>
                          </m:r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,</m:t>
                          </m:r>
                          <m:r>
                            <a:rPr lang="de-DE" sz="1600" i="1" smtClea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2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2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4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2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2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5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2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¬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2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4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2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¬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2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5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</m:oMath>
                  </m:oMathPara>
                </a14:m>
                <a:endParaRPr lang="de-DE" sz="1600" i="1" dirty="0" smtClean="0">
                  <a:solidFill>
                    <a:srgbClr val="000000"/>
                  </a:solidFill>
                  <a:latin typeface="Cambria Math"/>
                  <a:ea typeface="Cambria Math"/>
                </a:endParaRPr>
              </a:p>
              <a:p>
                <a:pPr algn="just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 xmlns:m="http://schemas.openxmlformats.org/officeDocument/2006/math"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2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sz="1600" dirty="0">
                    <a:solidFill>
                      <a:srgbClr val="000000"/>
                    </a:solidFill>
                    <a:ea typeface="Cambria Math"/>
                  </a:rPr>
                  <a:t> </a:t>
                </a:r>
                <a14:m>
                  <m:oMath xmlns:m="http://schemas.openxmlformats.org/officeDocument/2006/math"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r>
                  <a:rPr lang="de-DE" sz="1600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r>
                  <a:rPr lang="de-DE" sz="1600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2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endParaRPr lang="de-DE" sz="1600" i="1" dirty="0">
                  <a:solidFill>
                    <a:srgbClr val="000000"/>
                  </a:solidFill>
                  <a:latin typeface="Cambria Math"/>
                  <a:ea typeface="Cambria Math"/>
                </a:endParaRP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 xmlns:m="http://schemas.openxmlformats.org/officeDocument/2006/math"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2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sz="1600" dirty="0">
                    <a:solidFill>
                      <a:srgbClr val="000000"/>
                    </a:solidFill>
                    <a:ea typeface="Cambria Math"/>
                  </a:rPr>
                  <a:t> </a:t>
                </a:r>
                <a14:m>
                  <m:oMath xmlns:m="http://schemas.openxmlformats.org/officeDocument/2006/math"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r>
                  <a:rPr lang="de-DE" sz="1600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r>
                  <a:rPr lang="de-DE" sz="1600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2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</m:e>
                    </m:d>
                    <m:r>
                      <a:rPr lang="de-DE" sz="1600" i="1" smtClean="0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endParaRPr lang="de-DE" sz="1600" dirty="0" smtClean="0">
                  <a:solidFill>
                    <a:srgbClr val="000000"/>
                  </a:solidFill>
                  <a:ea typeface="Cambria Math"/>
                </a:endParaRP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 xmlns:m="http://schemas.openxmlformats.org/officeDocument/2006/math"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5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2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5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sz="1600" dirty="0">
                    <a:solidFill>
                      <a:srgbClr val="000000"/>
                    </a:solidFill>
                    <a:ea typeface="Cambria Math"/>
                  </a:rPr>
                  <a:t> </a:t>
                </a:r>
                <a14:m>
                  <m:oMath xmlns:m="http://schemas.openxmlformats.org/officeDocument/2006/math"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r>
                  <a:rPr lang="de-DE" sz="1600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5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5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r>
                  <a:rPr lang="de-DE" sz="1600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2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5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5</m:t>
                            </m:r>
                          </m:sub>
                        </m:sSub>
                      </m:e>
                    </m:d>
                  </m:oMath>
                </a14:m>
                <a:endParaRPr lang="de-DE" sz="1600" dirty="0" smtClean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37" name="Rechteck 3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286249" y="628787"/>
                <a:ext cx="6222347" cy="1936093"/>
              </a:xfrm>
              <a:prstGeom prst="rect">
                <a:avLst/>
              </a:prstGeom>
              <a:blipFill rotWithShape="1">
                <a:blip r:embed="rId7"/>
                <a:stretch>
                  <a:fillRect l="-683" t="-1553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8" name="Rechteck 37"/>
              <p:cNvSpPr/>
              <p:nvPr/>
            </p:nvSpPr>
            <p:spPr bwMode="auto">
              <a:xfrm>
                <a:off x="484890" y="4632827"/>
                <a:ext cx="7058089" cy="1820361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1600" dirty="0" smtClean="0">
                    <a:solidFill>
                      <a:srgbClr val="000000"/>
                    </a:solidFill>
                  </a:rPr>
                  <a:t>Gesamt:</a:t>
                </a: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 smtClean="0">
                  <a:solidFill>
                    <a:srgbClr val="000000"/>
                  </a:solidFill>
                </a:endParaRP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1600" dirty="0" smtClean="0">
                    <a:solidFill>
                      <a:srgbClr val="000000"/>
                    </a:solidFill>
                  </a:rPr>
                  <a:t>Tag 1 </a:t>
                </a:r>
                <a14:m>
                  <m:oMath xmlns:m="http://schemas.openxmlformats.org/officeDocument/2006/math">
                    <m:r>
                      <a:rPr lang="de-DE" sz="1600" i="1" smtClean="0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r>
                  <a:rPr lang="de-DE" sz="1600" dirty="0" smtClean="0">
                    <a:solidFill>
                      <a:srgbClr val="000000"/>
                    </a:solidFill>
                  </a:rPr>
                  <a:t> Tag 2</a:t>
                </a:r>
                <a:r>
                  <a:rPr lang="de-DE" sz="1600" dirty="0">
                    <a:solidFill>
                      <a:srgbClr val="000000"/>
                    </a:solidFill>
                    <a:ea typeface="Cambria Math"/>
                  </a:rPr>
                  <a:t> </a:t>
                </a:r>
                <a14:m>
                  <m:oMath xmlns:m="http://schemas.openxmlformats.org/officeDocument/2006/math"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endParaRPr lang="de-DE" sz="1600" dirty="0" smtClean="0">
                  <a:solidFill>
                    <a:srgbClr val="000000"/>
                  </a:solidFill>
                </a:endParaRP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1600" dirty="0" smtClean="0">
                    <a:solidFill>
                      <a:srgbClr val="000000"/>
                    </a:solidFill>
                    <a:ea typeface="Cambria Math"/>
                  </a:rPr>
                  <a:t>Fahrlagenvarianten, die sich  gegenseitig ausschießen </a:t>
                </a: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 xmlns:m="http://schemas.openxmlformats.org/officeDocument/2006/math"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r>
                  <a:rPr lang="de-DE" sz="1600" dirty="0" smtClean="0">
                    <a:solidFill>
                      <a:srgbClr val="000000"/>
                    </a:solidFill>
                    <a:ea typeface="Cambria Math"/>
                  </a:rPr>
                  <a:t> Partitionen zusammenführen</a:t>
                </a:r>
                <a:endParaRPr lang="de-DE" sz="1600" dirty="0">
                  <a:solidFill>
                    <a:srgbClr val="000000"/>
                  </a:solidFill>
                  <a:ea typeface="Cambria Math"/>
                </a:endParaRP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38" name="Rechteck 3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84890" y="4632827"/>
                <a:ext cx="7058089" cy="1820361"/>
              </a:xfrm>
              <a:prstGeom prst="rect">
                <a:avLst/>
              </a:prstGeom>
              <a:blipFill rotWithShape="1">
                <a:blip r:embed="rId8"/>
                <a:stretch>
                  <a:fillRect l="-603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Textfeld 26"/>
          <p:cNvSpPr txBox="1"/>
          <p:nvPr/>
        </p:nvSpPr>
        <p:spPr>
          <a:xfrm>
            <a:off x="8569190" y="916863"/>
            <a:ext cx="1205965" cy="791737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72000" rIns="72000" bIns="72000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 smtClean="0">
                <a:solidFill>
                  <a:schemeClr val="bg1"/>
                </a:solidFill>
              </a:rPr>
              <a:t>Nur ein Weg für jede Anfrage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8587261" y="1754206"/>
            <a:ext cx="1189823" cy="791737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72000" rIns="72000" bIns="72000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 smtClean="0">
                <a:solidFill>
                  <a:schemeClr val="bg1"/>
                </a:solidFill>
              </a:rPr>
              <a:t>Konflikte auf den System-trassen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8634545" y="2805759"/>
            <a:ext cx="1131447" cy="791737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72000" rIns="72000" bIns="72000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 smtClean="0">
                <a:solidFill>
                  <a:schemeClr val="bg1"/>
                </a:solidFill>
              </a:rPr>
              <a:t>Nur ein Weg für jede Anfrage</a:t>
            </a:r>
          </a:p>
        </p:txBody>
      </p:sp>
      <p:sp>
        <p:nvSpPr>
          <p:cNvPr id="41" name="Textfeld 40"/>
          <p:cNvSpPr txBox="1"/>
          <p:nvPr/>
        </p:nvSpPr>
        <p:spPr>
          <a:xfrm>
            <a:off x="8634544" y="3665962"/>
            <a:ext cx="1142539" cy="791737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72000" rIns="72000" bIns="72000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 smtClean="0">
                <a:solidFill>
                  <a:schemeClr val="bg1"/>
                </a:solidFill>
              </a:rPr>
              <a:t>Konflikte auf den System-trassen</a:t>
            </a:r>
          </a:p>
        </p:txBody>
      </p:sp>
      <p:sp>
        <p:nvSpPr>
          <p:cNvPr id="42" name="Textfeld 41"/>
          <p:cNvSpPr txBox="1"/>
          <p:nvPr/>
        </p:nvSpPr>
        <p:spPr>
          <a:xfrm>
            <a:off x="7686923" y="4832072"/>
            <a:ext cx="2090161" cy="1438068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72000" rIns="72000" bIns="72000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 smtClean="0">
                <a:solidFill>
                  <a:schemeClr val="bg1"/>
                </a:solidFill>
              </a:rPr>
              <a:t>Fahrlagenvarianten aus verschiedenen Partitionen einer Nachfrage dürfen nicht gleichzeitig ausgewählt werden</a:t>
            </a:r>
          </a:p>
        </p:txBody>
      </p:sp>
    </p:spTree>
    <p:extLst>
      <p:ext uri="{BB962C8B-B14F-4D97-AF65-F5344CB8AC3E}">
        <p14:creationId xmlns:p14="http://schemas.microsoft.com/office/powerpoint/2010/main" val="3846388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/>
            <a:fld id="{52C6F6EA-6ADD-43B6-963C-85EF970B7263}" type="slidenum">
              <a:rPr>
                <a:solidFill>
                  <a:srgbClr val="000000"/>
                </a:solidFill>
              </a:rPr>
              <a:pPr algn="l"/>
              <a:t>28</a:t>
            </a:fld>
            <a:endParaRPr dirty="0">
              <a:solidFill>
                <a:srgbClr val="000000"/>
              </a:solidFill>
            </a:endParaRPr>
          </a:p>
        </p:txBody>
      </p:sp>
      <p:grpSp>
        <p:nvGrpSpPr>
          <p:cNvPr id="34" name="Gruppieren 33"/>
          <p:cNvGrpSpPr/>
          <p:nvPr/>
        </p:nvGrpSpPr>
        <p:grpSpPr>
          <a:xfrm>
            <a:off x="432385" y="449540"/>
            <a:ext cx="1721654" cy="2602440"/>
            <a:chOff x="196850" y="133917"/>
            <a:chExt cx="1721654" cy="2602440"/>
          </a:xfrm>
        </p:grpSpPr>
        <p:cxnSp>
          <p:nvCxnSpPr>
            <p:cNvPr id="5" name="Gerade Verbindung mit Pfeil 4"/>
            <p:cNvCxnSpPr/>
            <p:nvPr/>
          </p:nvCxnSpPr>
          <p:spPr bwMode="auto">
            <a:xfrm>
              <a:off x="772930" y="563249"/>
              <a:ext cx="583792" cy="814646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" name="Gerade Verbindung mit Pfeil 5"/>
            <p:cNvCxnSpPr/>
            <p:nvPr/>
          </p:nvCxnSpPr>
          <p:spPr bwMode="auto">
            <a:xfrm>
              <a:off x="1356722" y="617876"/>
              <a:ext cx="0" cy="76002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mit Pfeil 9"/>
            <p:cNvCxnSpPr/>
            <p:nvPr/>
          </p:nvCxnSpPr>
          <p:spPr bwMode="auto">
            <a:xfrm>
              <a:off x="1356722" y="1377896"/>
              <a:ext cx="0" cy="111224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mit Pfeil 12"/>
            <p:cNvCxnSpPr/>
            <p:nvPr/>
          </p:nvCxnSpPr>
          <p:spPr bwMode="auto">
            <a:xfrm>
              <a:off x="1356722" y="1377896"/>
              <a:ext cx="561782" cy="55612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mit Pfeil 16"/>
            <p:cNvCxnSpPr/>
            <p:nvPr/>
          </p:nvCxnSpPr>
          <p:spPr bwMode="auto">
            <a:xfrm flipH="1">
              <a:off x="1356722" y="1934016"/>
              <a:ext cx="561782" cy="55612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" name="Textfeld 22"/>
                <p:cNvSpPr txBox="1"/>
                <p:nvPr/>
              </p:nvSpPr>
              <p:spPr>
                <a:xfrm>
                  <a:off x="196850" y="133917"/>
                  <a:ext cx="576080" cy="21544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</m:sub>
                        </m:sSub>
                        <m:d>
                          <m:dPr>
                            <m:ctrlP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</m:e>
                        </m:d>
                      </m:oMath>
                    </m:oMathPara>
                  </a14:m>
                  <a:endParaRPr lang="de-DE" sz="1400" dirty="0" err="1" smtClean="0">
                    <a:solidFill>
                      <a:srgbClr val="000000"/>
                    </a:solidFill>
                  </a:endParaRPr>
                </a:p>
              </p:txBody>
            </p:sp>
          </mc:Choice>
          <mc:Fallback xmlns="">
            <p:sp>
              <p:nvSpPr>
                <p:cNvPr id="23" name="Textfeld 22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6850" y="133917"/>
                  <a:ext cx="576080" cy="215444"/>
                </a:xfrm>
                <a:prstGeom prst="rect">
                  <a:avLst/>
                </a:prstGeom>
                <a:blipFill rotWithShape="1">
                  <a:blip r:embed="rId2"/>
                  <a:stretch>
                    <a:fillRect l="-6383" b="-14286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" name="Textfeld 23"/>
                <p:cNvSpPr txBox="1"/>
                <p:nvPr/>
              </p:nvSpPr>
              <p:spPr>
                <a:xfrm>
                  <a:off x="196850" y="347805"/>
                  <a:ext cx="576080" cy="21544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d>
                          <m:dPr>
                            <m:ctrlP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0</m:t>
                            </m:r>
                          </m:e>
                        </m:d>
                      </m:oMath>
                    </m:oMathPara>
                  </a14:m>
                  <a:endParaRPr lang="de-DE" sz="1400" dirty="0" err="1" smtClean="0">
                    <a:solidFill>
                      <a:srgbClr val="000000"/>
                    </a:solidFill>
                  </a:endParaRPr>
                </a:p>
              </p:txBody>
            </p:sp>
          </mc:Choice>
          <mc:Fallback xmlns="">
            <p:sp>
              <p:nvSpPr>
                <p:cNvPr id="24" name="Textfeld 23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6850" y="347805"/>
                  <a:ext cx="576080" cy="215444"/>
                </a:xfrm>
                <a:prstGeom prst="rect">
                  <a:avLst/>
                </a:prstGeom>
                <a:blipFill rotWithShape="1">
                  <a:blip r:embed="rId3"/>
                  <a:stretch>
                    <a:fillRect l="-7447" b="-14286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" name="Textfeld 24"/>
                <p:cNvSpPr txBox="1"/>
                <p:nvPr/>
              </p:nvSpPr>
              <p:spPr>
                <a:xfrm>
                  <a:off x="196850" y="566816"/>
                  <a:ext cx="576080" cy="21544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  <m:d>
                          <m:dPr>
                            <m:ctrlP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0</m:t>
                            </m:r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</m:e>
                        </m:d>
                      </m:oMath>
                    </m:oMathPara>
                  </a14:m>
                  <a:endParaRPr lang="de-DE" sz="1400" dirty="0" err="1" smtClean="0">
                    <a:solidFill>
                      <a:srgbClr val="000000"/>
                    </a:solidFill>
                  </a:endParaRPr>
                </a:p>
              </p:txBody>
            </p:sp>
          </mc:Choice>
          <mc:Fallback xmlns="">
            <p:sp>
              <p:nvSpPr>
                <p:cNvPr id="25" name="Textfeld 2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6850" y="566816"/>
                  <a:ext cx="576080" cy="215444"/>
                </a:xfrm>
                <a:prstGeom prst="rect">
                  <a:avLst/>
                </a:prstGeom>
                <a:blipFill rotWithShape="1">
                  <a:blip r:embed="rId4"/>
                  <a:stretch>
                    <a:fillRect l="-7447" b="-14286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6" name="Textfeld 25"/>
                <p:cNvSpPr txBox="1"/>
                <p:nvPr/>
              </p:nvSpPr>
              <p:spPr>
                <a:xfrm>
                  <a:off x="1068682" y="347648"/>
                  <a:ext cx="576080" cy="21544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2</m:t>
                            </m:r>
                          </m:sub>
                        </m:sSub>
                        <m:d>
                          <m:dPr>
                            <m:ctrlP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4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0</m:t>
                            </m:r>
                          </m:e>
                        </m:d>
                      </m:oMath>
                    </m:oMathPara>
                  </a14:m>
                  <a:endParaRPr lang="de-DE" sz="1400" dirty="0" err="1" smtClean="0">
                    <a:solidFill>
                      <a:srgbClr val="000000"/>
                    </a:solidFill>
                  </a:endParaRPr>
                </a:p>
              </p:txBody>
            </p:sp>
          </mc:Choice>
          <mc:Fallback xmlns="">
            <p:sp>
              <p:nvSpPr>
                <p:cNvPr id="26" name="Textfeld 25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68682" y="347648"/>
                  <a:ext cx="576080" cy="215444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 l="-7447" b="-14286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8" name="Textfeld 27"/>
            <p:cNvSpPr txBox="1"/>
            <p:nvPr/>
          </p:nvSpPr>
          <p:spPr>
            <a:xfrm>
              <a:off x="1139310" y="2490136"/>
              <a:ext cx="426839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solidFill>
                    <a:srgbClr val="000000"/>
                  </a:solidFill>
                </a:rPr>
                <a:t>Ziel</a:t>
              </a:r>
            </a:p>
          </p:txBody>
        </p:sp>
        <p:sp>
          <p:nvSpPr>
            <p:cNvPr id="29" name="Textfeld 28"/>
            <p:cNvSpPr txBox="1"/>
            <p:nvPr/>
          </p:nvSpPr>
          <p:spPr>
            <a:xfrm>
              <a:off x="1422129" y="782260"/>
              <a:ext cx="113814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30" name="Textfeld 29"/>
            <p:cNvSpPr txBox="1"/>
            <p:nvPr/>
          </p:nvSpPr>
          <p:spPr>
            <a:xfrm>
              <a:off x="951012" y="934660"/>
              <a:ext cx="113814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31" name="Textfeld 30"/>
            <p:cNvSpPr txBox="1"/>
            <p:nvPr/>
          </p:nvSpPr>
          <p:spPr>
            <a:xfrm>
              <a:off x="1236305" y="1772770"/>
              <a:ext cx="113814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1587855" y="1377896"/>
              <a:ext cx="113814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1740375" y="2132820"/>
              <a:ext cx="113814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solidFill>
                    <a:srgbClr val="000000"/>
                  </a:solidFill>
                </a:rPr>
                <a:t>5</a:t>
              </a:r>
            </a:p>
          </p:txBody>
        </p:sp>
      </p:grpSp>
      <p:sp>
        <p:nvSpPr>
          <p:cNvPr id="35" name="Textfeld 34"/>
          <p:cNvSpPr txBox="1"/>
          <p:nvPr/>
        </p:nvSpPr>
        <p:spPr>
          <a:xfrm>
            <a:off x="434867" y="3254894"/>
            <a:ext cx="187995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 smtClean="0">
                <a:solidFill>
                  <a:srgbClr val="000000"/>
                </a:solidFill>
              </a:rPr>
              <a:t>Die Systemtrassen seien täglich verfügba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Rechteck 37"/>
              <p:cNvSpPr/>
              <p:nvPr/>
            </p:nvSpPr>
            <p:spPr bwMode="auto">
              <a:xfrm>
                <a:off x="484890" y="4632827"/>
                <a:ext cx="7130099" cy="1964613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1600" i="1" dirty="0" smtClean="0">
                  <a:solidFill>
                    <a:srgbClr val="000000"/>
                  </a:solidFill>
                  <a:latin typeface="Cambria Math"/>
                </a:endParaRP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1600" i="1" dirty="0">
                  <a:solidFill>
                    <a:srgbClr val="000000"/>
                  </a:solidFill>
                  <a:latin typeface="Cambria Math"/>
                </a:endParaRP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¬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¬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</m:oMath>
                  </m:oMathPara>
                </a14:m>
                <a:endParaRPr lang="de-DE" sz="1600" dirty="0">
                  <a:solidFill>
                    <a:srgbClr val="000000"/>
                  </a:solidFill>
                </a:endParaRP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4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¬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¬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4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</m:oMath>
                  </m:oMathPara>
                </a14:m>
                <a:endParaRPr lang="de-DE" sz="1600" dirty="0">
                  <a:solidFill>
                    <a:srgbClr val="000000"/>
                  </a:solidFill>
                  <a:ea typeface="Cambria Math"/>
                </a:endParaRP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4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¬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4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</m:oMath>
                  </m:oMathPara>
                </a14:m>
                <a:endParaRPr lang="de-DE" sz="1600" dirty="0">
                  <a:solidFill>
                    <a:srgbClr val="000000"/>
                  </a:solidFill>
                  <a:ea typeface="Cambria Math"/>
                </a:endParaRP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¬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</m:t>
                              </m:r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 smtClean="0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1</m:t>
                              </m:r>
                            </m:sub>
                          </m:sSub>
                          <m:r>
                            <a:rPr lang="de-DE" sz="1600" i="1" smtClean="0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1</m:t>
                              </m:r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,</m:t>
                              </m:r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 smtClean="0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1</m:t>
                              </m:r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,</m:t>
                              </m:r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4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1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1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1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,</m:t>
                              </m:r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5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de-DE" sz="1600" dirty="0" smtClean="0">
                  <a:solidFill>
                    <a:srgbClr val="000000"/>
                  </a:solidFill>
                  <a:ea typeface="Cambria Math"/>
                </a:endParaRP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¬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2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2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2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2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2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4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2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2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2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5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de-DE" sz="1600" dirty="0">
                  <a:solidFill>
                    <a:srgbClr val="000000"/>
                  </a:solidFill>
                  <a:ea typeface="Cambria Math"/>
                </a:endParaRP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¬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3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3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4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3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3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5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de-DE" sz="1600" dirty="0">
                  <a:solidFill>
                    <a:srgbClr val="000000"/>
                  </a:solidFill>
                  <a:ea typeface="Cambria Math"/>
                </a:endParaRP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¬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4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4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4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4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4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4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4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4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4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5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de-DE" sz="1600" dirty="0">
                  <a:solidFill>
                    <a:srgbClr val="000000"/>
                  </a:solidFill>
                  <a:ea typeface="Cambria Math"/>
                </a:endParaRP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  <a:ea typeface="Cambria Math"/>
                </a:endParaRP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38" name="Rechteck 3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84890" y="4632827"/>
                <a:ext cx="7130099" cy="1964613"/>
              </a:xfrm>
              <a:prstGeom prst="rect">
                <a:avLst/>
              </a:prstGeom>
              <a:blipFill rotWithShape="1">
                <a:blip r:embed="rId8"/>
                <a:stretch>
                  <a:fillRect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feld 3"/>
              <p:cNvSpPr txBox="1"/>
              <p:nvPr/>
            </p:nvSpPr>
            <p:spPr>
              <a:xfrm>
                <a:off x="484890" y="4632827"/>
                <a:ext cx="1680357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1600" dirty="0">
                    <a:solidFill>
                      <a:srgbClr val="000000"/>
                    </a:solidFill>
                  </a:rPr>
                  <a:t>Gesamt:</a:t>
                </a: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1600" dirty="0">
                    <a:solidFill>
                      <a:srgbClr val="000000"/>
                    </a:solidFill>
                  </a:rPr>
                  <a:t>Tag 1 </a:t>
                </a:r>
                <a14:m>
                  <m:oMath xmlns:m="http://schemas.openxmlformats.org/officeDocument/2006/math"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r>
                  <a:rPr lang="de-DE" sz="1600" dirty="0">
                    <a:solidFill>
                      <a:srgbClr val="000000"/>
                    </a:solidFill>
                  </a:rPr>
                  <a:t> Tag 2</a:t>
                </a:r>
                <a:r>
                  <a:rPr lang="de-DE" sz="1600" dirty="0">
                    <a:solidFill>
                      <a:srgbClr val="000000"/>
                    </a:solidFill>
                    <a:ea typeface="Cambria Math"/>
                  </a:rPr>
                  <a:t> </a:t>
                </a:r>
                <a14:m>
                  <m:oMath xmlns:m="http://schemas.openxmlformats.org/officeDocument/2006/math"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endParaRPr lang="de-DE" sz="1600" dirty="0">
                  <a:solidFill>
                    <a:srgbClr val="000000"/>
                  </a:solidFill>
                </a:endParaRP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 err="1" smtClean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4" name="Textfeld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4890" y="4632827"/>
                <a:ext cx="1680357" cy="738664"/>
              </a:xfrm>
              <a:prstGeom prst="rect">
                <a:avLst/>
              </a:prstGeom>
              <a:blipFill rotWithShape="1">
                <a:blip r:embed="rId9"/>
                <a:stretch>
                  <a:fillRect l="-7636" t="-909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04000" y="6692901"/>
            <a:ext cx="6894959" cy="93663"/>
          </a:xfr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DB Netz AG | Patrick </a:t>
            </a:r>
            <a:r>
              <a:rPr lang="de-DE" dirty="0" err="1"/>
              <a:t>Breun</a:t>
            </a:r>
            <a:r>
              <a:rPr lang="de-DE" dirty="0"/>
              <a:t>, Jordis Wächter | Dresden | 18.12.2017</a:t>
            </a:r>
          </a:p>
        </p:txBody>
      </p:sp>
      <p:sp>
        <p:nvSpPr>
          <p:cNvPr id="43" name="Textfeld 42"/>
          <p:cNvSpPr txBox="1"/>
          <p:nvPr/>
        </p:nvSpPr>
        <p:spPr>
          <a:xfrm>
            <a:off x="8569190" y="916863"/>
            <a:ext cx="1205965" cy="791737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72000" rIns="72000" bIns="72000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 smtClean="0">
                <a:solidFill>
                  <a:schemeClr val="bg1"/>
                </a:solidFill>
              </a:rPr>
              <a:t>Nur ein Weg für jede Anfrage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8587261" y="1754206"/>
            <a:ext cx="1189823" cy="791737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72000" rIns="72000" bIns="72000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 smtClean="0">
                <a:solidFill>
                  <a:schemeClr val="bg1"/>
                </a:solidFill>
              </a:rPr>
              <a:t>Konflikte auf den System-trassen</a:t>
            </a:r>
          </a:p>
        </p:txBody>
      </p:sp>
      <p:sp>
        <p:nvSpPr>
          <p:cNvPr id="45" name="Textfeld 44"/>
          <p:cNvSpPr txBox="1"/>
          <p:nvPr/>
        </p:nvSpPr>
        <p:spPr>
          <a:xfrm>
            <a:off x="8634545" y="2805759"/>
            <a:ext cx="1131447" cy="791737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72000" rIns="72000" bIns="72000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 smtClean="0">
                <a:solidFill>
                  <a:schemeClr val="bg1"/>
                </a:solidFill>
              </a:rPr>
              <a:t>Nur ein Weg für jede Anfrage</a:t>
            </a:r>
          </a:p>
        </p:txBody>
      </p:sp>
      <p:sp>
        <p:nvSpPr>
          <p:cNvPr id="46" name="Textfeld 45"/>
          <p:cNvSpPr txBox="1"/>
          <p:nvPr/>
        </p:nvSpPr>
        <p:spPr>
          <a:xfrm>
            <a:off x="8634544" y="3665962"/>
            <a:ext cx="1142539" cy="791737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72000" rIns="72000" bIns="72000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 smtClean="0">
                <a:solidFill>
                  <a:schemeClr val="bg1"/>
                </a:solidFill>
              </a:rPr>
              <a:t>Konflikte auf den System-trassen</a:t>
            </a:r>
          </a:p>
        </p:txBody>
      </p:sp>
      <p:sp>
        <p:nvSpPr>
          <p:cNvPr id="47" name="Textfeld 46"/>
          <p:cNvSpPr txBox="1"/>
          <p:nvPr/>
        </p:nvSpPr>
        <p:spPr>
          <a:xfrm>
            <a:off x="7686923" y="4832072"/>
            <a:ext cx="2090161" cy="1438068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72000" rIns="72000" bIns="72000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 smtClean="0">
                <a:solidFill>
                  <a:schemeClr val="bg1"/>
                </a:solidFill>
              </a:rPr>
              <a:t>Fahrlagenvarianten aus verschiedenen Partitionen einer Nachfrage dürfen nicht gleichzeitig ausgewählt werde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8" name="Rechteck 47"/>
              <p:cNvSpPr/>
              <p:nvPr/>
            </p:nvSpPr>
            <p:spPr bwMode="auto">
              <a:xfrm>
                <a:off x="2286249" y="2688789"/>
                <a:ext cx="6264870" cy="1820361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1600" dirty="0" smtClean="0">
                    <a:solidFill>
                      <a:srgbClr val="000000"/>
                    </a:solidFill>
                  </a:rPr>
                  <a:t>Tag 2:</a:t>
                </a: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1600" dirty="0" smtClean="0">
                    <a:solidFill>
                      <a:srgbClr val="408335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>
                            <a:solidFill>
                              <a:srgbClr val="408335"/>
                            </a:solidFill>
                            <a:latin typeface="Cambria Math"/>
                          </a:rPr>
                        </m:ctrlPr>
                      </m:sSubPr>
                      <m:e>
                        <m:r>
                          <a:rPr lang="de-DE" sz="1600" i="1">
                            <a:solidFill>
                              <a:srgbClr val="408335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600" i="1">
                            <a:solidFill>
                              <a:srgbClr val="408335"/>
                            </a:solidFill>
                            <a:latin typeface="Cambria Math"/>
                          </a:rPr>
                          <m:t>1</m:t>
                        </m:r>
                        <m:r>
                          <a:rPr lang="de-DE" sz="1600" i="1">
                            <a:solidFill>
                              <a:srgbClr val="408335"/>
                            </a:solidFill>
                            <a:latin typeface="Cambria Math"/>
                          </a:rPr>
                          <m:t>,</m:t>
                        </m:r>
                        <m:r>
                          <a:rPr lang="de-DE" sz="1600" i="1">
                            <a:solidFill>
                              <a:srgbClr val="408335"/>
                            </a:solidFill>
                            <a:latin typeface="Cambria Math"/>
                          </a:rPr>
                          <m:t>2</m:t>
                        </m:r>
                      </m:sub>
                    </m:sSub>
                    <m:r>
                      <a:rPr lang="de-DE" sz="1600" i="1">
                        <a:solidFill>
                          <a:srgbClr val="408335"/>
                        </a:solidFill>
                        <a:latin typeface="Cambria Math"/>
                        <a:ea typeface="Cambria Math"/>
                      </a:rPr>
                      <m:t>∧</m:t>
                    </m:r>
                    <m:d>
                      <m:dPr>
                        <m:ctrlPr>
                          <a:rPr lang="de-DE" sz="1600" i="1">
                            <a:solidFill>
                              <a:srgbClr val="408335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408335"/>
                            </a:solidFill>
                            <a:latin typeface="Cambria Math"/>
                            <a:ea typeface="Cambria Math"/>
                          </a:rPr>
                          <m:t>∨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408335"/>
                        </a:solidFill>
                        <a:latin typeface="Cambria Math"/>
                        <a:ea typeface="Cambria Math"/>
                      </a:rPr>
                      <m:t>∧</m:t>
                    </m:r>
                    <m:d>
                      <m:dPr>
                        <m:ctrlPr>
                          <a:rPr lang="de-DE" sz="1600" i="1">
                            <a:solidFill>
                              <a:srgbClr val="408335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408335"/>
                            </a:solidFill>
                            <a:latin typeface="Cambria Math"/>
                            <a:ea typeface="Cambria Math"/>
                          </a:rPr>
                          <m:t>∨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5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408335"/>
                        </a:solidFill>
                        <a:latin typeface="Cambria Math"/>
                        <a:ea typeface="Cambria Math"/>
                      </a:rPr>
                      <m:t>∧</m:t>
                    </m:r>
                    <m:d>
                      <m:dPr>
                        <m:ctrlPr>
                          <a:rPr lang="de-DE" sz="1600" i="1">
                            <a:solidFill>
                              <a:srgbClr val="408335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408335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408335"/>
                        </a:solidFill>
                        <a:latin typeface="Cambria Math"/>
                        <a:ea typeface="Cambria Math"/>
                      </a:rPr>
                      <m:t>∧</m:t>
                    </m:r>
                    <m:d>
                      <m:dPr>
                        <m:ctrlPr>
                          <a:rPr lang="de-DE" sz="1600" i="1">
                            <a:solidFill>
                              <a:srgbClr val="408335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408335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408335"/>
                                </a:solidFill>
                                <a:latin typeface="Cambria Math"/>
                              </a:rPr>
                              <m:t>5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endParaRPr lang="de-DE" sz="1600" dirty="0" smtClean="0">
                  <a:solidFill>
                    <a:srgbClr val="000000"/>
                  </a:solidFill>
                </a:endParaRP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1600" dirty="0" smtClean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Pr>
                      <m:e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𝑥</m:t>
                        </m:r>
                      </m:e>
                      <m:sub>
                        <m:r>
                          <a:rPr lang="de-DE" sz="1600" i="1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4</m:t>
                        </m:r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  <m:t>,</m:t>
                        </m:r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</m:sSub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5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5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endParaRPr lang="de-DE" sz="1600" i="1" dirty="0" smtClean="0">
                  <a:solidFill>
                    <a:srgbClr val="000000"/>
                  </a:solidFill>
                  <a:latin typeface="Cambria Math"/>
                  <a:ea typeface="Cambria Math"/>
                </a:endParaRP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1600" dirty="0" smtClean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endParaRPr lang="de-DE" sz="1600" i="1" dirty="0" smtClean="0">
                  <a:solidFill>
                    <a:srgbClr val="000000"/>
                  </a:solidFill>
                  <a:latin typeface="Cambria Math"/>
                  <a:ea typeface="Cambria Math"/>
                </a:endParaRP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1600" dirty="0" smtClean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endParaRPr lang="de-DE" sz="1600" i="1" dirty="0" smtClean="0">
                  <a:solidFill>
                    <a:srgbClr val="000000"/>
                  </a:solidFill>
                  <a:latin typeface="Cambria Math"/>
                  <a:ea typeface="Cambria Math"/>
                </a:endParaRP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1600" dirty="0" smtClean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5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5</m:t>
                            </m:r>
                          </m:sub>
                        </m:sSub>
                      </m:e>
                    </m:d>
                  </m:oMath>
                </a14:m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48" name="Rechteck 4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286249" y="2688789"/>
                <a:ext cx="6264870" cy="1820361"/>
              </a:xfrm>
              <a:prstGeom prst="rect">
                <a:avLst/>
              </a:prstGeom>
              <a:blipFill rotWithShape="1">
                <a:blip r:embed="rId10"/>
                <a:stretch>
                  <a:fillRect l="-678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9" name="Rechteck 48"/>
              <p:cNvSpPr/>
              <p:nvPr/>
            </p:nvSpPr>
            <p:spPr bwMode="auto">
              <a:xfrm>
                <a:off x="2286249" y="628787"/>
                <a:ext cx="6222347" cy="1936093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1600" dirty="0" smtClean="0">
                    <a:solidFill>
                      <a:srgbClr val="000000"/>
                    </a:solidFill>
                  </a:rPr>
                  <a:t>Tag 1:</a:t>
                </a:r>
              </a:p>
              <a:p>
                <a:pPr algn="just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i="1" smtClean="0">
                              <a:solidFill>
                                <a:srgbClr val="408335"/>
                              </a:solidFill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sz="1600" i="1" smtClean="0">
                              <a:solidFill>
                                <a:srgbClr val="408335"/>
                              </a:solidFill>
                              <a:latin typeface="Cambria Math"/>
                            </a:rPr>
                            <m:t>𝑥</m:t>
                          </m:r>
                        </m:e>
                        <m:sub>
                          <m:r>
                            <a:rPr lang="de-DE" sz="1600" i="1" smtClean="0">
                              <a:solidFill>
                                <a:srgbClr val="408335"/>
                              </a:solidFill>
                              <a:latin typeface="Cambria Math"/>
                            </a:rPr>
                            <m:t>1</m:t>
                          </m:r>
                          <m:r>
                            <a:rPr lang="de-DE" sz="1600" i="1" smtClean="0">
                              <a:solidFill>
                                <a:srgbClr val="408335"/>
                              </a:solidFill>
                              <a:latin typeface="Cambria Math"/>
                            </a:rPr>
                            <m:t>,</m:t>
                          </m:r>
                          <m:r>
                            <a:rPr lang="de-DE" sz="1600" i="1" smtClean="0">
                              <a:solidFill>
                                <a:srgbClr val="408335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</m:sSub>
                      <m:r>
                        <a:rPr lang="de-DE" sz="1600" i="1" smtClean="0">
                          <a:solidFill>
                            <a:srgbClr val="408335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 smtClean="0">
                              <a:solidFill>
                                <a:srgbClr val="408335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1</m:t>
                              </m:r>
                              <m: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 smtClean="0">
                              <a:solidFill>
                                <a:srgbClr val="408335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1</m:t>
                              </m:r>
                              <m: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4</m:t>
                              </m:r>
                            </m:sub>
                          </m:sSub>
                        </m:e>
                      </m:d>
                      <m:r>
                        <a:rPr lang="de-DE" sz="1600" i="1" smtClean="0">
                          <a:solidFill>
                            <a:srgbClr val="408335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408335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1</m:t>
                              </m:r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408335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1</m:t>
                              </m:r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5</m:t>
                              </m:r>
                            </m:sub>
                          </m:sSub>
                        </m:e>
                      </m:d>
                      <m:r>
                        <a:rPr lang="de-DE" sz="1600" i="1" smtClean="0">
                          <a:solidFill>
                            <a:srgbClr val="408335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408335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1</m:t>
                              </m:r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408335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r>
                            <a:rPr lang="de-DE" sz="1600" i="1" smtClean="0">
                              <a:solidFill>
                                <a:srgbClr val="408335"/>
                              </a:solidFill>
                              <a:latin typeface="Cambria Math"/>
                              <a:ea typeface="Cambria Math"/>
                            </a:rPr>
                            <m:t>¬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1</m:t>
                              </m:r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4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408335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408335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1</m:t>
                              </m:r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408335"/>
                              </a:solidFill>
                              <a:latin typeface="Cambria Math"/>
                              <a:ea typeface="Cambria Math"/>
                            </a:rPr>
                            <m:t>∨¬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1</m:t>
                              </m:r>
                              <m:r>
                                <a:rPr lang="de-DE" sz="1600" i="1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 smtClean="0">
                                  <a:solidFill>
                                    <a:srgbClr val="408335"/>
                                  </a:solidFill>
                                  <a:latin typeface="Cambria Math"/>
                                </a:rPr>
                                <m:t>5</m:t>
                              </m:r>
                            </m:sub>
                          </m:sSub>
                        </m:e>
                      </m:d>
                      <m:r>
                        <a:rPr lang="de-DE" sz="1600" i="1" smtClean="0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</m:oMath>
                  </m:oMathPara>
                </a14:m>
                <a:endParaRPr lang="de-DE" sz="1600" i="1" dirty="0" smtClean="0">
                  <a:solidFill>
                    <a:srgbClr val="000000"/>
                  </a:solidFill>
                  <a:latin typeface="Cambria Math"/>
                  <a:ea typeface="Cambria Math"/>
                </a:endParaRPr>
              </a:p>
              <a:p>
                <a:pPr algn="just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sz="1600" i="1" smtClean="0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𝑥</m:t>
                          </m:r>
                        </m:e>
                        <m:sub>
                          <m:r>
                            <a:rPr lang="de-DE" sz="1600" i="1" smtClea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3</m:t>
                          </m:r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</m:sSub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4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5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¬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4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¬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5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</m:oMath>
                  </m:oMathPara>
                </a14:m>
                <a:endParaRPr lang="de-DE" sz="1600" i="1" dirty="0">
                  <a:solidFill>
                    <a:srgbClr val="000000"/>
                  </a:solidFill>
                  <a:latin typeface="Cambria Math"/>
                  <a:ea typeface="Cambria Math"/>
                </a:endParaRPr>
              </a:p>
              <a:p>
                <a:pPr algn="just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𝑥</m:t>
                          </m:r>
                        </m:e>
                        <m:sub>
                          <m:r>
                            <a:rPr lang="de-DE" sz="1600" i="1" smtClean="0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2</m:t>
                          </m:r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,</m:t>
                          </m:r>
                          <m:r>
                            <a:rPr lang="de-DE" sz="1600" i="1" smtClea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2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2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4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2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2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5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2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¬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2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4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2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3</m:t>
                              </m:r>
                            </m:sub>
                          </m:sSub>
                          <m:r>
                            <a:rPr lang="de-DE" sz="1600" i="1">
                              <a:solidFill>
                                <a:srgbClr val="000000"/>
                              </a:solidFill>
                              <a:latin typeface="Cambria Math"/>
                              <a:ea typeface="Cambria Math"/>
                            </a:rPr>
                            <m:t>∨¬</m:t>
                          </m:r>
                          <m:sSub>
                            <m:sSubPr>
                              <m:ctrlP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i="1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2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5</m:t>
                              </m:r>
                            </m:sub>
                          </m:sSub>
                        </m:e>
                      </m:d>
                      <m:r>
                        <a:rPr lang="de-DE" sz="1600" i="1">
                          <a:solidFill>
                            <a:srgbClr val="000000"/>
                          </a:solidFill>
                          <a:latin typeface="Cambria Math"/>
                          <a:ea typeface="Cambria Math"/>
                        </a:rPr>
                        <m:t>∧</m:t>
                      </m:r>
                    </m:oMath>
                  </m:oMathPara>
                </a14:m>
                <a:endParaRPr lang="de-DE" sz="1600" i="1" dirty="0" smtClean="0">
                  <a:solidFill>
                    <a:srgbClr val="000000"/>
                  </a:solidFill>
                  <a:latin typeface="Cambria Math"/>
                  <a:ea typeface="Cambria Math"/>
                </a:endParaRPr>
              </a:p>
              <a:p>
                <a:pPr algn="just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 xmlns:m="http://schemas.openxmlformats.org/officeDocument/2006/math"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2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sz="1600" dirty="0">
                    <a:solidFill>
                      <a:srgbClr val="000000"/>
                    </a:solidFill>
                    <a:ea typeface="Cambria Math"/>
                  </a:rPr>
                  <a:t> </a:t>
                </a:r>
                <a14:m>
                  <m:oMath xmlns:m="http://schemas.openxmlformats.org/officeDocument/2006/math"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r>
                  <a:rPr lang="de-DE" sz="1600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r>
                  <a:rPr lang="de-DE" sz="1600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2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endParaRPr lang="de-DE" sz="1600" i="1" dirty="0">
                  <a:solidFill>
                    <a:srgbClr val="000000"/>
                  </a:solidFill>
                  <a:latin typeface="Cambria Math"/>
                  <a:ea typeface="Cambria Math"/>
                </a:endParaRP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 xmlns:m="http://schemas.openxmlformats.org/officeDocument/2006/math"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2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sz="1600" dirty="0">
                    <a:solidFill>
                      <a:srgbClr val="000000"/>
                    </a:solidFill>
                    <a:ea typeface="Cambria Math"/>
                  </a:rPr>
                  <a:t> </a:t>
                </a:r>
                <a14:m>
                  <m:oMath xmlns:m="http://schemas.openxmlformats.org/officeDocument/2006/math"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r>
                  <a:rPr lang="de-DE" sz="1600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r>
                  <a:rPr lang="de-DE" sz="1600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2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4</m:t>
                            </m:r>
                          </m:sub>
                        </m:sSub>
                      </m:e>
                    </m:d>
                    <m:r>
                      <a:rPr lang="de-DE" sz="1600" i="1" smtClean="0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endParaRPr lang="de-DE" sz="1600" dirty="0" smtClean="0">
                  <a:solidFill>
                    <a:srgbClr val="000000"/>
                  </a:solidFill>
                  <a:ea typeface="Cambria Math"/>
                </a:endParaRPr>
              </a:p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 xmlns:m="http://schemas.openxmlformats.org/officeDocument/2006/math"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5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2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5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sz="1600" dirty="0">
                    <a:solidFill>
                      <a:srgbClr val="000000"/>
                    </a:solidFill>
                    <a:ea typeface="Cambria Math"/>
                  </a:rPr>
                  <a:t> </a:t>
                </a:r>
                <a14:m>
                  <m:oMath xmlns:m="http://schemas.openxmlformats.org/officeDocument/2006/math"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r>
                  <a:rPr lang="de-DE" sz="1600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5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5</m:t>
                            </m:r>
                          </m:sub>
                        </m:sSub>
                      </m:e>
                    </m:d>
                    <m:r>
                      <a:rPr lang="de-DE" sz="1600" i="1">
                        <a:solidFill>
                          <a:srgbClr val="000000"/>
                        </a:solidFill>
                        <a:latin typeface="Cambria Math"/>
                        <a:ea typeface="Cambria Math"/>
                      </a:rPr>
                      <m:t>∧</m:t>
                    </m:r>
                  </m:oMath>
                </a14:m>
                <a:r>
                  <a:rPr lang="de-DE" sz="1600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  <a:ea typeface="Cambria Math"/>
                              </a:rPr>
                              <m:t>¬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2</m:t>
                            </m:r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5</m:t>
                            </m:r>
                          </m:sub>
                        </m:sSub>
                        <m:r>
                          <a:rPr lang="de-DE" sz="1600" i="1">
                            <a:solidFill>
                              <a:srgbClr val="000000"/>
                            </a:solidFill>
                            <a:latin typeface="Cambria Math"/>
                            <a:ea typeface="Cambria Math"/>
                          </a:rPr>
                          <m:t>∨¬</m:t>
                        </m:r>
                        <m:sSub>
                          <m:sSubPr>
                            <m:ctrlP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i="1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,</m:t>
                            </m:r>
                            <m:r>
                              <a:rPr lang="de-DE" sz="1600" i="1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5</m:t>
                            </m:r>
                          </m:sub>
                        </m:sSub>
                      </m:e>
                    </m:d>
                  </m:oMath>
                </a14:m>
                <a:endParaRPr lang="de-DE" sz="1600" dirty="0" smtClean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49" name="Rechteck 4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286249" y="628787"/>
                <a:ext cx="6222347" cy="1936093"/>
              </a:xfrm>
              <a:prstGeom prst="rect">
                <a:avLst/>
              </a:prstGeom>
              <a:blipFill rotWithShape="1">
                <a:blip r:embed="rId11"/>
                <a:stretch>
                  <a:fillRect l="-683" t="-1553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40892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blauf SAT-Modell in der ganzjährigen Belegung (2/X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Patrick Breun, Jordis Wächter | Dresden | 19.12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70099" y="3493361"/>
            <a:ext cx="2808312" cy="360040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latin typeface="DB Office" pitchFamily="34" charset="0"/>
              </a:rPr>
              <a:t>Partitionierung der </a:t>
            </a:r>
            <a:r>
              <a:rPr lang="de-DE" sz="1200" dirty="0" smtClean="0">
                <a:latin typeface="DB Office" pitchFamily="34" charset="0"/>
              </a:rPr>
              <a:t>Fahrlage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15" name="Gerade Verbindung mit Pfeil 14"/>
          <p:cNvCxnSpPr>
            <a:stCxn id="12" idx="2"/>
          </p:cNvCxnSpPr>
          <p:nvPr/>
        </p:nvCxnSpPr>
        <p:spPr bwMode="auto">
          <a:xfrm>
            <a:off x="1674255" y="3853401"/>
            <a:ext cx="0" cy="252792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mit Pfeil 20"/>
          <p:cNvCxnSpPr>
            <a:endCxn id="12" idx="0"/>
          </p:cNvCxnSpPr>
          <p:nvPr/>
        </p:nvCxnSpPr>
        <p:spPr bwMode="auto">
          <a:xfrm>
            <a:off x="1674255" y="1628800"/>
            <a:ext cx="0" cy="186456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Rechteck 44"/>
              <p:cNvSpPr/>
              <p:nvPr/>
            </p:nvSpPr>
            <p:spPr bwMode="auto">
              <a:xfrm>
                <a:off x="4835259" y="3171718"/>
                <a:ext cx="1411504" cy="553998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𝑝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0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1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bestehen aus: </a:t>
                </a:r>
              </a:p>
              <a:p>
                <a:pPr marL="182563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0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1</m:t>
                        </m:r>
                      </m:sup>
                    </m:sSubSup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 (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1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,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1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,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0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)</m:t>
                    </m:r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</a:t>
                </a:r>
              </a:p>
            </p:txBody>
          </p:sp>
        </mc:Choice>
        <mc:Fallback xmlns="">
          <p:sp>
            <p:nvSpPr>
              <p:cNvPr id="45" name="Rechteck 4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835259" y="3171718"/>
                <a:ext cx="1411504" cy="553998"/>
              </a:xfrm>
              <a:prstGeom prst="rect">
                <a:avLst/>
              </a:prstGeom>
              <a:blipFill rotWithShape="1">
                <a:blip r:embed="rId2"/>
                <a:stretch>
                  <a:fillRect/>
                </a:stretch>
              </a:blip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6" name="Rechteck 45"/>
              <p:cNvSpPr/>
              <p:nvPr/>
            </p:nvSpPr>
            <p:spPr bwMode="auto">
              <a:xfrm>
                <a:off x="4842632" y="4157764"/>
                <a:ext cx="1396757" cy="711396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𝑝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1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1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bestehend aus: </a:t>
                </a:r>
              </a:p>
              <a:p>
                <a:pPr marL="182563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1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1</m:t>
                        </m:r>
                      </m:sup>
                    </m:sSubSup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 (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1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,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0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,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0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)</m:t>
                    </m:r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</a:t>
                </a:r>
              </a:p>
              <a:p>
                <a:pPr marL="182563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2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1</m:t>
                        </m:r>
                      </m:sup>
                    </m:sSubSup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 (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0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,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1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,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0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)</m:t>
                    </m:r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</a:t>
                </a:r>
              </a:p>
            </p:txBody>
          </p:sp>
        </mc:Choice>
        <mc:Fallback xmlns="">
          <p:sp>
            <p:nvSpPr>
              <p:cNvPr id="46" name="Rechteck 4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842632" y="4157764"/>
                <a:ext cx="1396757" cy="711396"/>
              </a:xfrm>
              <a:prstGeom prst="rect">
                <a:avLst/>
              </a:prstGeom>
              <a:blipFill rotWithShape="1">
                <a:blip r:embed="rId3"/>
                <a:stretch>
                  <a:fillRect r="-3017"/>
                </a:stretch>
              </a:blip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7" name="Gerade Verbindung 46"/>
          <p:cNvCxnSpPr>
            <a:stCxn id="45" idx="2"/>
            <a:endCxn id="46" idx="0"/>
          </p:cNvCxnSpPr>
          <p:nvPr/>
        </p:nvCxnSpPr>
        <p:spPr bwMode="auto">
          <a:xfrm>
            <a:off x="5541011" y="3725716"/>
            <a:ext cx="0" cy="432048"/>
          </a:xfrm>
          <a:prstGeom prst="line">
            <a:avLst/>
          </a:prstGeom>
          <a:solidFill>
            <a:srgbClr val="C8CDD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" name="Textfeld 48"/>
          <p:cNvSpPr txBox="1"/>
          <p:nvPr/>
        </p:nvSpPr>
        <p:spPr>
          <a:xfrm>
            <a:off x="4850006" y="2940603"/>
            <a:ext cx="10801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ahrlage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r</a:t>
            </a:r>
            <a:r>
              <a:rPr kumimoji="0" lang="de-DE" sz="1200" b="0" i="0" u="none" strike="noStrike" kern="0" cap="none" spc="0" normalizeH="0" baseline="-2500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1" name="Rechteck 50"/>
              <p:cNvSpPr/>
              <p:nvPr/>
            </p:nvSpPr>
            <p:spPr bwMode="auto">
              <a:xfrm>
                <a:off x="6642807" y="3171718"/>
                <a:ext cx="1396252" cy="553998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𝑝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0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2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bestehend aus: </a:t>
                </a:r>
              </a:p>
              <a:p>
                <a:pPr marL="182563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0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2</m:t>
                        </m:r>
                      </m:sup>
                    </m:sSubSup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 (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0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,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1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,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1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)</m:t>
                    </m:r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</a:t>
                </a:r>
              </a:p>
            </p:txBody>
          </p:sp>
        </mc:Choice>
        <mc:Fallback xmlns="">
          <p:sp>
            <p:nvSpPr>
              <p:cNvPr id="51" name="Rechteck 5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642807" y="3171718"/>
                <a:ext cx="1396252" cy="553998"/>
              </a:xfrm>
              <a:prstGeom prst="rect">
                <a:avLst/>
              </a:prstGeom>
              <a:blipFill rotWithShape="1">
                <a:blip r:embed="rId4"/>
                <a:stretch>
                  <a:fillRect r="-3030"/>
                </a:stretch>
              </a:blip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2" name="Rechteck 51"/>
              <p:cNvSpPr/>
              <p:nvPr/>
            </p:nvSpPr>
            <p:spPr bwMode="auto">
              <a:xfrm>
                <a:off x="6642807" y="4157764"/>
                <a:ext cx="1396252" cy="711396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𝑝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1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2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bestehend aus: </a:t>
                </a:r>
              </a:p>
              <a:p>
                <a:pPr marL="182563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1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2</m:t>
                        </m:r>
                      </m:sup>
                    </m:sSubSup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 (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0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,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0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,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0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)</m:t>
                    </m:r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</a:t>
                </a:r>
              </a:p>
              <a:p>
                <a:pPr marL="182563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2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2</m:t>
                        </m:r>
                      </m:sup>
                    </m:sSubSup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 (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0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,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1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,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1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)</m:t>
                    </m:r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</a:t>
                </a:r>
              </a:p>
            </p:txBody>
          </p:sp>
        </mc:Choice>
        <mc:Fallback xmlns="">
          <p:sp>
            <p:nvSpPr>
              <p:cNvPr id="52" name="Rechteck 5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642807" y="4157764"/>
                <a:ext cx="1396252" cy="711396"/>
              </a:xfrm>
              <a:prstGeom prst="rect">
                <a:avLst/>
              </a:prstGeom>
              <a:blipFill rotWithShape="1">
                <a:blip r:embed="rId5"/>
                <a:stretch>
                  <a:fillRect r="-3030"/>
                </a:stretch>
              </a:blip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3" name="Gerade Verbindung 52"/>
          <p:cNvCxnSpPr>
            <a:stCxn id="51" idx="2"/>
            <a:endCxn id="52" idx="0"/>
          </p:cNvCxnSpPr>
          <p:nvPr/>
        </p:nvCxnSpPr>
        <p:spPr bwMode="auto">
          <a:xfrm>
            <a:off x="7340933" y="3725716"/>
            <a:ext cx="0" cy="432048"/>
          </a:xfrm>
          <a:prstGeom prst="line">
            <a:avLst/>
          </a:prstGeom>
          <a:solidFill>
            <a:srgbClr val="C8CDD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5" name="Textfeld 54"/>
          <p:cNvSpPr txBox="1"/>
          <p:nvPr/>
        </p:nvSpPr>
        <p:spPr>
          <a:xfrm>
            <a:off x="3654475" y="3171718"/>
            <a:ext cx="100814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kein Schnitt (ursprüngliche </a:t>
            </a: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ahrlage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)</a:t>
            </a:r>
          </a:p>
        </p:txBody>
      </p:sp>
      <p:sp>
        <p:nvSpPr>
          <p:cNvPr id="56" name="Textfeld 55"/>
          <p:cNvSpPr txBox="1"/>
          <p:nvPr/>
        </p:nvSpPr>
        <p:spPr>
          <a:xfrm>
            <a:off x="3654475" y="4251838"/>
            <a:ext cx="100814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0" dirty="0" smtClean="0">
                <a:solidFill>
                  <a:srgbClr val="000000"/>
                </a:solidFill>
              </a:rPr>
              <a:t>Nach  Ausführung 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chnitt Nr. 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7" name="Rechteck 56"/>
              <p:cNvSpPr/>
              <p:nvPr/>
            </p:nvSpPr>
            <p:spPr bwMode="auto">
              <a:xfrm>
                <a:off x="3654475" y="1556792"/>
                <a:ext cx="2871286" cy="792088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sng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Notation:</a:t>
                </a:r>
              </a:p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𝑝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𝑙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𝑟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Partitionierung</a:t>
                </a:r>
                <a:r>
                  <a:rPr lang="de-DE" sz="1200" i="1" kern="0" dirty="0">
                    <a:solidFill>
                      <a:srgbClr val="000000"/>
                    </a:solidFill>
                    <a:latin typeface="DB Office"/>
                  </a:rPr>
                  <a:t> 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l 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der </a:t>
                </a:r>
                <a:r>
                  <a: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Fahrlage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r</a:t>
                </a:r>
              </a:p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𝑛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𝑟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Fahrlagenvariante 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n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der </a:t>
                </a:r>
                <a:r>
                  <a: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Fahrlage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r</a:t>
                </a:r>
              </a:p>
            </p:txBody>
          </p:sp>
        </mc:Choice>
        <mc:Fallback xmlns="">
          <p:sp>
            <p:nvSpPr>
              <p:cNvPr id="57" name="Rechteck 5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654475" y="1556792"/>
                <a:ext cx="2871286" cy="792088"/>
              </a:xfrm>
              <a:prstGeom prst="rect">
                <a:avLst/>
              </a:prstGeom>
              <a:blipFill rotWithShape="1">
                <a:blip r:embed="rId6"/>
                <a:stretch>
                  <a:fillRect l="-423"/>
                </a:stretch>
              </a:blip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8" name="Gerade Verbindung mit Pfeil 57"/>
          <p:cNvCxnSpPr/>
          <p:nvPr/>
        </p:nvCxnSpPr>
        <p:spPr bwMode="auto">
          <a:xfrm flipH="1">
            <a:off x="7561957" y="4528837"/>
            <a:ext cx="864096" cy="0"/>
          </a:xfrm>
          <a:prstGeom prst="straightConnector1">
            <a:avLst/>
          </a:prstGeom>
          <a:solidFill>
            <a:srgbClr val="C8CDD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9" name="Textfeld 58"/>
          <p:cNvSpPr txBox="1"/>
          <p:nvPr/>
        </p:nvSpPr>
        <p:spPr>
          <a:xfrm>
            <a:off x="8478985" y="4417454"/>
            <a:ext cx="93613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rrelevant</a:t>
            </a:r>
          </a:p>
        </p:txBody>
      </p:sp>
      <p:sp>
        <p:nvSpPr>
          <p:cNvPr id="67" name="Textfeld 66"/>
          <p:cNvSpPr txBox="1"/>
          <p:nvPr/>
        </p:nvSpPr>
        <p:spPr>
          <a:xfrm>
            <a:off x="6632414" y="2940603"/>
            <a:ext cx="10801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ahrlage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r</a:t>
            </a:r>
            <a:r>
              <a:rPr kumimoji="0" lang="de-DE" sz="1200" b="0" i="0" u="none" strike="noStrike" kern="0" cap="none" spc="0" normalizeH="0" baseline="-2500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829221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blauf SAT-Modell in der ganzjährigen Belegung (3/X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Patrick Breun, Jordis Wächter | Dresden | 19.12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70099" y="1844824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Kürzeste Wegesuche je Fahrlagenvariante (für alle Partitionen)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15" name="Gerade Verbindung mit Pfeil 14"/>
          <p:cNvCxnSpPr>
            <a:stCxn id="12" idx="2"/>
          </p:cNvCxnSpPr>
          <p:nvPr/>
        </p:nvCxnSpPr>
        <p:spPr bwMode="auto">
          <a:xfrm>
            <a:off x="1674255" y="2284519"/>
            <a:ext cx="0" cy="425987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mit Pfeil 20"/>
          <p:cNvCxnSpPr>
            <a:endCxn id="12" idx="0"/>
          </p:cNvCxnSpPr>
          <p:nvPr/>
        </p:nvCxnSpPr>
        <p:spPr bwMode="auto">
          <a:xfrm>
            <a:off x="1674255" y="1556792"/>
            <a:ext cx="0" cy="28803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hteck 23"/>
              <p:cNvSpPr/>
              <p:nvPr/>
            </p:nvSpPr>
            <p:spPr bwMode="auto">
              <a:xfrm>
                <a:off x="3654475" y="1556792"/>
                <a:ext cx="2871286" cy="792088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sng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Notation:</a:t>
                </a:r>
              </a:p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𝑝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𝑙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𝑟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Partitionierung</a:t>
                </a:r>
                <a:r>
                  <a:rPr lang="de-DE" sz="1200" i="1" kern="0" dirty="0">
                    <a:solidFill>
                      <a:srgbClr val="000000"/>
                    </a:solidFill>
                    <a:latin typeface="DB Office"/>
                  </a:rPr>
                  <a:t> 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l 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der </a:t>
                </a:r>
                <a:r>
                  <a: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Fahrlage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r</a:t>
                </a:r>
              </a:p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𝑛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𝑟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Fahrlagenvariante 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n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der </a:t>
                </a:r>
                <a:r>
                  <a: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Fahrlage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r</a:t>
                </a:r>
              </a:p>
            </p:txBody>
          </p:sp>
        </mc:Choice>
        <mc:Fallback xmlns="">
          <p:sp>
            <p:nvSpPr>
              <p:cNvPr id="24" name="Rechteck 2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654475" y="1556792"/>
                <a:ext cx="2871286" cy="792088"/>
              </a:xfrm>
              <a:prstGeom prst="rect">
                <a:avLst/>
              </a:prstGeom>
              <a:blipFill rotWithShape="1">
                <a:blip r:embed="rId3"/>
                <a:stretch>
                  <a:fillRect l="-423"/>
                </a:stretch>
              </a:blip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70099" y="2420888"/>
            <a:ext cx="2808312" cy="3816424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de-DE" sz="1200" dirty="0" smtClean="0"/>
              <a:t>Wähle je </a:t>
            </a:r>
            <a:r>
              <a:rPr lang="de-DE" sz="1200" dirty="0" err="1" smtClean="0"/>
              <a:t>Fahrlage</a:t>
            </a:r>
            <a:r>
              <a:rPr lang="de-DE" sz="1200" dirty="0" smtClean="0"/>
              <a:t> die homogenste (= oberste) Partition, für die ein Weg gefunden wird (d.h. für alle Fahrlagenvarianten dieser Partition muss ein Weg gefunden werden)</a:t>
            </a:r>
          </a:p>
          <a:p>
            <a:pPr lvl="1"/>
            <a:r>
              <a:rPr lang="de-DE" sz="1200" dirty="0" smtClean="0"/>
              <a:t>MSMS-Wegesuche inkl. V/N mit Bit-Schlüssel der Fahrlagenvariante (nur Systemtrassen, die an allen Tagen der Fahrlagenvariante gültig sind)</a:t>
            </a:r>
            <a:br>
              <a:rPr lang="de-DE" sz="1200" dirty="0" smtClean="0"/>
            </a:br>
            <a:r>
              <a:rPr lang="de-DE" sz="1200" b="1" dirty="0" smtClean="0">
                <a:sym typeface="Wingdings" panose="05000000000000000000" pitchFamily="2" charset="2"/>
              </a:rPr>
              <a:t> Konzept hierfür steht</a:t>
            </a:r>
            <a:endParaRPr lang="de-DE" sz="1200" b="1" dirty="0" smtClean="0"/>
          </a:p>
          <a:p>
            <a:pPr lvl="1"/>
            <a:r>
              <a:rPr lang="de-DE" sz="1200" dirty="0" smtClean="0">
                <a:solidFill>
                  <a:schemeClr val="accent1"/>
                </a:solidFill>
              </a:rPr>
              <a:t>TBD - Fahrlagenvariante nicht belegbar wenn kein V/N gefunden wird (in diesem Fall zugehörige Partitionen als nicht belegbar markieren)</a:t>
            </a:r>
            <a:br>
              <a:rPr lang="de-DE" sz="1200" dirty="0" smtClean="0">
                <a:solidFill>
                  <a:schemeClr val="accent1"/>
                </a:solidFill>
              </a:rPr>
            </a:br>
            <a:r>
              <a:rPr lang="de-DE" sz="1200" b="1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 Zusätzlicher Schritt</a:t>
            </a:r>
            <a:br>
              <a:rPr lang="de-DE" sz="1200" b="1" dirty="0" smtClean="0">
                <a:solidFill>
                  <a:schemeClr val="accent1"/>
                </a:solidFill>
                <a:sym typeface="Wingdings" panose="05000000000000000000" pitchFamily="2" charset="2"/>
              </a:rPr>
            </a:br>
            <a:r>
              <a:rPr lang="de-DE" sz="1200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(Bisher </a:t>
            </a:r>
            <a:r>
              <a:rPr lang="de-DE" sz="1200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Kennzeichung</a:t>
            </a:r>
            <a:r>
              <a:rPr lang="de-DE" sz="1200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als nicht belegbar nur falls keine Individualkonstruktion oder keine kürzeste Referenzroute gefunden werden konnte)</a:t>
            </a:r>
            <a:endParaRPr lang="de-DE" sz="1200" dirty="0">
              <a:solidFill>
                <a:schemeClr val="accent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3" name="Inhaltsplatzhalter 5"/>
              <p:cNvSpPr txBox="1">
                <a:spLocks/>
              </p:cNvSpPr>
              <p:nvPr/>
            </p:nvSpPr>
            <p:spPr bwMode="auto">
              <a:xfrm>
                <a:off x="3654475" y="2492896"/>
                <a:ext cx="2889354" cy="393709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lang="de-DE" sz="1600" dirty="0" smtClean="0">
                    <a:solidFill>
                      <a:schemeClr val="tx1"/>
                    </a:solidFill>
                    <a:latin typeface="DB Office" panose="020B0604020202020204" pitchFamily="34" charset="0"/>
                    <a:ea typeface="+mn-ea"/>
                    <a:cs typeface="+mn-cs"/>
                  </a:defRPr>
                </a:lvl1pPr>
                <a:lvl2pPr marL="180000" indent="-1800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SzPct val="85000"/>
                  <a:buFont typeface="Wingdings" pitchFamily="2" charset="2"/>
                  <a:buChar char="n"/>
                  <a:defRPr lang="de-DE" sz="1600" dirty="0" smtClean="0">
                    <a:solidFill>
                      <a:schemeClr val="tx1"/>
                    </a:solidFill>
                    <a:latin typeface="DB Office" panose="020B0604020202020204" pitchFamily="34" charset="0"/>
                  </a:defRPr>
                </a:lvl2pPr>
                <a:lvl3pPr marL="358775" indent="-1800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Char char="–"/>
                  <a:defRPr lang="de-DE" sz="1600" dirty="0" smtClean="0">
                    <a:solidFill>
                      <a:schemeClr val="tx1"/>
                    </a:solidFill>
                    <a:latin typeface="DB Office" panose="020B0604020202020204" pitchFamily="34" charset="0"/>
                  </a:defRPr>
                </a:lvl3pPr>
                <a:lvl4pPr marL="540000" indent="-1800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Font typeface="Wingdings" pitchFamily="2" charset="2"/>
                  <a:buChar char="§"/>
                  <a:defRPr lang="de-DE" sz="1600" dirty="0" smtClean="0">
                    <a:solidFill>
                      <a:schemeClr val="tx1"/>
                    </a:solidFill>
                    <a:latin typeface="DB Office" panose="020B0604020202020204" pitchFamily="34" charset="0"/>
                  </a:defRPr>
                </a:lvl4pPr>
                <a:lvl5pPr marL="720000" indent="-1800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Char char="–"/>
                  <a:defRPr lang="de-DE" sz="1600" dirty="0">
                    <a:solidFill>
                      <a:schemeClr val="tx1"/>
                    </a:solidFill>
                    <a:latin typeface="DB Office" panose="020B0604020202020204" pitchFamily="34" charset="0"/>
                  </a:defRPr>
                </a:lvl5pPr>
                <a:lvl6pPr marL="1185863" indent="-182563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1643063" indent="-182563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2100263" indent="-182563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2557463" indent="-182563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>
                  <a:defRPr/>
                </a:pPr>
                <a:r>
                  <a:rPr kumimoji="0" lang="de-DE" sz="1200" b="0" i="0" u="sng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Fahrlage</a:t>
                </a:r>
                <a:r>
                  <a:rPr kumimoji="0" lang="de-DE" sz="1200" b="0" i="0" u="sng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 </a:t>
                </a:r>
                <a:r>
                  <a:rPr lang="de-DE" sz="1200" u="sng" kern="0" dirty="0" smtClean="0">
                    <a:solidFill>
                      <a:srgbClr val="000000"/>
                    </a:solidFill>
                  </a:rPr>
                  <a:t>r</a:t>
                </a:r>
                <a:r>
                  <a:rPr lang="de-DE" sz="1200" u="sng" kern="0" baseline="-25000" dirty="0" smtClean="0">
                    <a:solidFill>
                      <a:srgbClr val="000000"/>
                    </a:solidFill>
                  </a:rPr>
                  <a:t>1</a:t>
                </a:r>
                <a:r>
                  <a:rPr kumimoji="0" lang="de-DE" sz="1200" b="0" i="0" u="sng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: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kumimoji="0" lang="ar-AE" sz="1200" b="1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1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𝒑</m:t>
                        </m:r>
                      </m:e>
                      <m:sub>
                        <m:r>
                          <a:rPr kumimoji="0" lang="ar-AE" sz="1200" b="1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𝟎</m:t>
                        </m:r>
                      </m:sub>
                      <m:sup>
                        <m:r>
                          <a:rPr kumimoji="0" lang="ar-AE" sz="1200" b="1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𝟏</m:t>
                        </m:r>
                      </m:sup>
                    </m:sSubSup>
                    <m:r>
                      <a:rPr kumimoji="0" lang="de-DE" sz="12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(</m:t>
                    </m:r>
                    <m:r>
                      <a:rPr kumimoji="0" lang="ar-AE" sz="12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=</m:t>
                    </m:r>
                    <m:sSubSup>
                      <m:sSubSupPr>
                        <m:ctrlPr>
                          <a:rPr kumimoji="0" lang="ar-A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ar-A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0</m:t>
                        </m:r>
                      </m:sub>
                      <m:sup>
                        <m:r>
                          <a:rPr kumimoji="0" lang="ar-A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1</m:t>
                        </m:r>
                      </m:sup>
                    </m:sSubSup>
                    <m:r>
                      <a:rPr kumimoji="0" lang="de-DE" sz="12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)</m:t>
                    </m:r>
                  </m:oMath>
                </a14:m>
                <a:endParaRPr kumimoji="0" lang="ar-A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ar-A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 (1,1,0)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r>
                      <a:rPr kumimoji="0" lang="ar-AE" sz="1200" b="1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 </m:t>
                    </m:r>
                    <m:sSubSup>
                      <m:sSubSupPr>
                        <m:ctrlPr>
                          <a:rPr kumimoji="0" lang="ar-AE" sz="1200" b="1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1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𝒑</m:t>
                        </m:r>
                      </m:e>
                      <m:sub>
                        <m:r>
                          <a:rPr kumimoji="0" lang="ar-AE" sz="1200" b="1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𝟏</m:t>
                        </m:r>
                      </m:sub>
                      <m:sup>
                        <m:r>
                          <a:rPr kumimoji="0" lang="ar-AE" sz="1200" b="1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𝟏</m:t>
                        </m:r>
                      </m:sup>
                    </m:sSubSup>
                  </m:oMath>
                </a14:m>
                <a:r>
                  <a:rPr kumimoji="0" lang="ar-AE" sz="12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: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r>
                      <a:rPr kumimoji="0" lang="ar-AE" sz="12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 </m:t>
                    </m:r>
                    <m:sSubSup>
                      <m:sSubSupPr>
                        <m:ctrlPr>
                          <a:rPr kumimoji="0" lang="ar-A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ar-A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1</m:t>
                        </m:r>
                      </m:sub>
                      <m:sup>
                        <m:r>
                          <a:rPr kumimoji="0" lang="ar-A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1</m:t>
                        </m:r>
                      </m:sup>
                    </m:sSubSup>
                  </m:oMath>
                </a14:m>
                <a:r>
                  <a:rPr kumimoji="0" lang="ar-A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ar-A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(1,0,0)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ar-A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ar-A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2</m:t>
                        </m:r>
                      </m:sub>
                      <m:sup>
                        <m:r>
                          <a:rPr kumimoji="0" lang="ar-A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1</m:t>
                        </m:r>
                      </m:sup>
                    </m:sSubSup>
                  </m:oMath>
                </a14:m>
                <a:r>
                  <a:rPr kumimoji="0" lang="ar-A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  <a:endParaRPr kumimoji="0" lang="ar-A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ar-A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(0,1,0)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  <a:sym typeface="Wingdings" panose="05000000000000000000" pitchFamily="2" charset="2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  <a:sym typeface="Wingdings" panose="05000000000000000000" pitchFamily="2" charset="2"/>
                </a:endParaRPr>
              </a:p>
              <a:p>
                <a:pPr marL="285750" lvl="0" indent="-285750">
                  <a:buFont typeface="Wingdings"/>
                  <a:buChar char="à"/>
                </a:pPr>
                <a:r>
                  <a:rPr kumimoji="0" lang="de-DE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  <a:sym typeface="Wingdings" panose="05000000000000000000" pitchFamily="2" charset="2"/>
                  </a:rPr>
                  <a:t>w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  <a:sym typeface="Wingdings" panose="05000000000000000000" pitchFamily="2" charset="2"/>
                  </a:rPr>
                  <a:t>ähle nur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kumimoji="0" lang="ar-A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𝑝</m:t>
                        </m:r>
                      </m:e>
                      <m:sub>
                        <m:r>
                          <a:rPr kumimoji="0" lang="ar-A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0</m:t>
                        </m:r>
                      </m:sub>
                      <m:sup>
                        <m:r>
                          <a:rPr kumimoji="0" lang="ar-A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1</m:t>
                        </m:r>
                      </m:sup>
                    </m:sSubSup>
                  </m:oMath>
                </a14:m>
                <a:r>
                  <a:rPr kumimoji="0" lang="ar-A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für SAT, da bereits für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𝑝</m:t>
                        </m:r>
                      </m:e>
                      <m:sub>
                        <m:r>
                          <a:rPr lang="ar-A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ar-A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 ein Weg gefunden wurde </a:t>
                </a:r>
              </a:p>
              <a:p>
                <a:pPr marL="285750" marR="0" lvl="0" indent="-28575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/>
                  <a:buChar char="à"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ar-A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ar-A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0</m:t>
                        </m:r>
                      </m:sub>
                      <m:sup>
                        <m:r>
                          <a:rPr kumimoji="0" lang="ar-A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1</m:t>
                        </m:r>
                      </m:sup>
                    </m:sSubSup>
                    <m:r>
                      <a:rPr kumimoji="0" lang="ar-AE" sz="12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kumimoji="0" lang="ar-A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0" lang="ar-A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  <a:ea typeface="+mn-ea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  <a:ea typeface="+mn-ea"/>
                                <a:cs typeface="+mn-cs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ar-A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  <a:ea typeface="+mn-ea"/>
                                <a:cs typeface="+mn-cs"/>
                              </a:rPr>
                              <m:t>1</m:t>
                            </m:r>
                          </m:sub>
                        </m:sSub>
                      </m:e>
                    </m:d>
                  </m:oMath>
                </a14:m>
                <a:endParaRPr kumimoji="0" lang="ar-A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63" name="Inhaltsplatzhalter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654475" y="2492896"/>
                <a:ext cx="2889354" cy="3937093"/>
              </a:xfrm>
              <a:prstGeom prst="rect">
                <a:avLst/>
              </a:prstGeom>
              <a:blipFill rotWithShape="1">
                <a:blip r:embed="rId4"/>
                <a:stretch>
                  <a:fillRect l="-3376" t="-1393" r="-633" b="-310"/>
                </a:stretch>
              </a:blipFill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4" name="Flussdiagramm: Verbindungsstelle 63"/>
          <p:cNvSpPr/>
          <p:nvPr/>
        </p:nvSpPr>
        <p:spPr bwMode="auto">
          <a:xfrm>
            <a:off x="4518571" y="3108014"/>
            <a:ext cx="360000" cy="360000"/>
          </a:xfrm>
          <a:prstGeom prst="flowChartConnector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rPr>
              <a:t>Q</a:t>
            </a:r>
          </a:p>
        </p:txBody>
      </p:sp>
      <p:sp>
        <p:nvSpPr>
          <p:cNvPr id="65" name="Flussdiagramm: Verbindungsstelle 64"/>
          <p:cNvSpPr/>
          <p:nvPr/>
        </p:nvSpPr>
        <p:spPr bwMode="auto">
          <a:xfrm>
            <a:off x="5958731" y="3108014"/>
            <a:ext cx="360000" cy="360000"/>
          </a:xfrm>
          <a:prstGeom prst="flowChartConnector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rPr>
              <a:t>S</a:t>
            </a:r>
          </a:p>
        </p:txBody>
      </p:sp>
      <p:cxnSp>
        <p:nvCxnSpPr>
          <p:cNvPr id="66" name="Gerade Verbindung mit Pfeil 65"/>
          <p:cNvCxnSpPr>
            <a:stCxn id="64" idx="6"/>
            <a:endCxn id="65" idx="2"/>
          </p:cNvCxnSpPr>
          <p:nvPr/>
        </p:nvCxnSpPr>
        <p:spPr bwMode="auto">
          <a:xfrm>
            <a:off x="4878571" y="3288014"/>
            <a:ext cx="1080160" cy="0"/>
          </a:xfrm>
          <a:prstGeom prst="straightConnector1">
            <a:avLst/>
          </a:prstGeom>
          <a:solidFill>
            <a:srgbClr val="C8CDD2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8" name="Gekrümmte Verbindung 67"/>
          <p:cNvCxnSpPr>
            <a:stCxn id="64" idx="0"/>
            <a:endCxn id="65" idx="0"/>
          </p:cNvCxnSpPr>
          <p:nvPr/>
        </p:nvCxnSpPr>
        <p:spPr bwMode="auto">
          <a:xfrm rot="5400000" flipH="1" flipV="1">
            <a:off x="5418651" y="2387934"/>
            <a:ext cx="12700" cy="1440160"/>
          </a:xfrm>
          <a:prstGeom prst="curvedConnector3">
            <a:avLst>
              <a:gd name="adj1" fmla="val 1800000"/>
            </a:avLst>
          </a:prstGeom>
          <a:solidFill>
            <a:srgbClr val="C8CDD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9" name="Textfeld 68"/>
              <p:cNvSpPr txBox="1"/>
              <p:nvPr/>
            </p:nvSpPr>
            <p:spPr>
              <a:xfrm>
                <a:off x="5166643" y="3069914"/>
                <a:ext cx="628970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 (1,1,1)</a:t>
                </a:r>
              </a:p>
            </p:txBody>
          </p:sp>
        </mc:Choice>
        <mc:Fallback xmlns="">
          <p:sp>
            <p:nvSpPr>
              <p:cNvPr id="69" name="Textfeld 6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66643" y="3069914"/>
                <a:ext cx="628970" cy="184666"/>
              </a:xfrm>
              <a:prstGeom prst="rect">
                <a:avLst/>
              </a:prstGeom>
              <a:blipFill rotWithShape="1">
                <a:blip r:embed="rId5"/>
                <a:stretch>
                  <a:fillRect l="-6796" t="-30000" r="-9709" b="-466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0" name="Textfeld 69"/>
              <p:cNvSpPr txBox="1"/>
              <p:nvPr/>
            </p:nvSpPr>
            <p:spPr>
              <a:xfrm>
                <a:off x="5166644" y="2636912"/>
                <a:ext cx="628970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2</m:t>
                        </m:r>
                      </m:sub>
                    </m:sSub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(1,1,0)</a:t>
                </a:r>
                <a:endParaRPr kumimoji="0" lang="de-DE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70" name="Textfeld 6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66644" y="2636912"/>
                <a:ext cx="628970" cy="184666"/>
              </a:xfrm>
              <a:prstGeom prst="rect">
                <a:avLst/>
              </a:prstGeom>
              <a:blipFill rotWithShape="1">
                <a:blip r:embed="rId6"/>
                <a:stretch>
                  <a:fillRect l="-6796" t="-30000" r="-4854" b="-466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1" name="Flussdiagramm: Verbindungsstelle 70"/>
          <p:cNvSpPr/>
          <p:nvPr/>
        </p:nvSpPr>
        <p:spPr bwMode="auto">
          <a:xfrm>
            <a:off x="4512442" y="4368090"/>
            <a:ext cx="360000" cy="360000"/>
          </a:xfrm>
          <a:prstGeom prst="flowChartConnector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rPr>
              <a:t>Q</a:t>
            </a:r>
          </a:p>
        </p:txBody>
      </p:sp>
      <p:sp>
        <p:nvSpPr>
          <p:cNvPr id="72" name="Flussdiagramm: Verbindungsstelle 71"/>
          <p:cNvSpPr/>
          <p:nvPr/>
        </p:nvSpPr>
        <p:spPr bwMode="auto">
          <a:xfrm>
            <a:off x="6030779" y="4368090"/>
            <a:ext cx="360000" cy="360000"/>
          </a:xfrm>
          <a:prstGeom prst="flowChartConnector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rPr>
              <a:t>S</a:t>
            </a:r>
          </a:p>
        </p:txBody>
      </p:sp>
      <p:cxnSp>
        <p:nvCxnSpPr>
          <p:cNvPr id="73" name="Gerade Verbindung mit Pfeil 72"/>
          <p:cNvCxnSpPr>
            <a:stCxn id="71" idx="6"/>
            <a:endCxn id="72" idx="2"/>
          </p:cNvCxnSpPr>
          <p:nvPr/>
        </p:nvCxnSpPr>
        <p:spPr bwMode="auto">
          <a:xfrm>
            <a:off x="4872442" y="4548090"/>
            <a:ext cx="1158337" cy="0"/>
          </a:xfrm>
          <a:prstGeom prst="straightConnector1">
            <a:avLst/>
          </a:prstGeom>
          <a:solidFill>
            <a:srgbClr val="C8CDD2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4" name="Gekrümmte Verbindung 73"/>
          <p:cNvCxnSpPr>
            <a:stCxn id="71" idx="0"/>
            <a:endCxn id="72" idx="0"/>
          </p:cNvCxnSpPr>
          <p:nvPr/>
        </p:nvCxnSpPr>
        <p:spPr bwMode="auto">
          <a:xfrm rot="5400000" flipH="1" flipV="1">
            <a:off x="5451610" y="3608922"/>
            <a:ext cx="12700" cy="1518337"/>
          </a:xfrm>
          <a:prstGeom prst="curvedConnector3">
            <a:avLst>
              <a:gd name="adj1" fmla="val 1800000"/>
            </a:avLst>
          </a:prstGeom>
          <a:solidFill>
            <a:srgbClr val="C8CDD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75" name="Textfeld 74"/>
              <p:cNvSpPr txBox="1"/>
              <p:nvPr/>
            </p:nvSpPr>
            <p:spPr>
              <a:xfrm>
                <a:off x="5184672" y="4324454"/>
                <a:ext cx="628970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 (1,1,1)</a:t>
                </a:r>
              </a:p>
            </p:txBody>
          </p:sp>
        </mc:Choice>
        <mc:Fallback xmlns="">
          <p:sp>
            <p:nvSpPr>
              <p:cNvPr id="75" name="Textfeld 7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84672" y="4324454"/>
                <a:ext cx="628970" cy="184666"/>
              </a:xfrm>
              <a:prstGeom prst="rect">
                <a:avLst/>
              </a:prstGeom>
              <a:blipFill rotWithShape="1">
                <a:blip r:embed="rId7"/>
                <a:stretch>
                  <a:fillRect l="-6796" t="-25806" r="-9709" b="-4516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6" name="Textfeld 75"/>
              <p:cNvSpPr txBox="1"/>
              <p:nvPr/>
            </p:nvSpPr>
            <p:spPr>
              <a:xfrm>
                <a:off x="5184671" y="3933056"/>
                <a:ext cx="683816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2</m:t>
                        </m:r>
                      </m:sub>
                    </m:sSub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(1,1,0)</a:t>
                </a:r>
                <a:endParaRPr kumimoji="0" lang="de-DE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76" name="Textfeld 7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84671" y="3933056"/>
                <a:ext cx="683816" cy="184666"/>
              </a:xfrm>
              <a:prstGeom prst="rect">
                <a:avLst/>
              </a:prstGeom>
              <a:blipFill rotWithShape="1">
                <a:blip r:embed="rId8"/>
                <a:stretch>
                  <a:fillRect l="-6250" t="-26667" b="-50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7" name="Flussdiagramm: Verbindungsstelle 76"/>
          <p:cNvSpPr/>
          <p:nvPr/>
        </p:nvSpPr>
        <p:spPr bwMode="auto">
          <a:xfrm>
            <a:off x="4518571" y="5165203"/>
            <a:ext cx="360000" cy="360000"/>
          </a:xfrm>
          <a:prstGeom prst="flowChartConnector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rPr>
              <a:t>Q</a:t>
            </a:r>
          </a:p>
        </p:txBody>
      </p:sp>
      <p:sp>
        <p:nvSpPr>
          <p:cNvPr id="78" name="Flussdiagramm: Verbindungsstelle 77"/>
          <p:cNvSpPr/>
          <p:nvPr/>
        </p:nvSpPr>
        <p:spPr bwMode="auto">
          <a:xfrm>
            <a:off x="6036908" y="5165203"/>
            <a:ext cx="360000" cy="360000"/>
          </a:xfrm>
          <a:prstGeom prst="flowChartConnector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rPr>
              <a:t>S</a:t>
            </a:r>
          </a:p>
        </p:txBody>
      </p:sp>
      <p:cxnSp>
        <p:nvCxnSpPr>
          <p:cNvPr id="79" name="Gerade Verbindung mit Pfeil 78"/>
          <p:cNvCxnSpPr>
            <a:stCxn id="77" idx="6"/>
            <a:endCxn id="78" idx="2"/>
          </p:cNvCxnSpPr>
          <p:nvPr/>
        </p:nvCxnSpPr>
        <p:spPr bwMode="auto">
          <a:xfrm>
            <a:off x="4878571" y="5345203"/>
            <a:ext cx="1158337" cy="0"/>
          </a:xfrm>
          <a:prstGeom prst="straightConnector1">
            <a:avLst/>
          </a:prstGeom>
          <a:solidFill>
            <a:srgbClr val="C8CDD2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0" name="Gekrümmte Verbindung 79"/>
          <p:cNvCxnSpPr>
            <a:stCxn id="77" idx="0"/>
            <a:endCxn id="78" idx="0"/>
          </p:cNvCxnSpPr>
          <p:nvPr/>
        </p:nvCxnSpPr>
        <p:spPr bwMode="auto">
          <a:xfrm rot="5400000" flipH="1" flipV="1">
            <a:off x="5457739" y="4406035"/>
            <a:ext cx="12700" cy="1518337"/>
          </a:xfrm>
          <a:prstGeom prst="curvedConnector3">
            <a:avLst>
              <a:gd name="adj1" fmla="val 1800000"/>
            </a:avLst>
          </a:prstGeom>
          <a:solidFill>
            <a:srgbClr val="C8CDD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1" name="Textfeld 80"/>
              <p:cNvSpPr txBox="1"/>
              <p:nvPr/>
            </p:nvSpPr>
            <p:spPr>
              <a:xfrm>
                <a:off x="5136781" y="5116542"/>
                <a:ext cx="628970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 (1,1,1)</a:t>
                </a:r>
              </a:p>
            </p:txBody>
          </p:sp>
        </mc:Choice>
        <mc:Fallback xmlns="">
          <p:sp>
            <p:nvSpPr>
              <p:cNvPr id="81" name="Textfeld 8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36781" y="5116542"/>
                <a:ext cx="628970" cy="184666"/>
              </a:xfrm>
              <a:prstGeom prst="rect">
                <a:avLst/>
              </a:prstGeom>
              <a:blipFill rotWithShape="1">
                <a:blip r:embed="rId7"/>
                <a:stretch>
                  <a:fillRect l="-6796" t="-25806" r="-9709" b="-4516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2" name="Textfeld 81"/>
              <p:cNvSpPr txBox="1"/>
              <p:nvPr/>
            </p:nvSpPr>
            <p:spPr>
              <a:xfrm>
                <a:off x="5136780" y="4725144"/>
                <a:ext cx="683816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2</m:t>
                        </m:r>
                      </m:sub>
                    </m:sSub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(1,1,0)</a:t>
                </a:r>
                <a:endParaRPr kumimoji="0" lang="de-DE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82" name="Textfeld 8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36780" y="4725144"/>
                <a:ext cx="683816" cy="184666"/>
              </a:xfrm>
              <a:prstGeom prst="rect">
                <a:avLst/>
              </a:prstGeom>
              <a:blipFill rotWithShape="1">
                <a:blip r:embed="rId8"/>
                <a:stretch>
                  <a:fillRect l="-6250" t="-26667" b="-50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Runde Klammer links 17"/>
          <p:cNvSpPr/>
          <p:nvPr/>
        </p:nvSpPr>
        <p:spPr bwMode="auto">
          <a:xfrm>
            <a:off x="3510459" y="3717032"/>
            <a:ext cx="288032" cy="1944216"/>
          </a:xfrm>
          <a:prstGeom prst="leftBracket">
            <a:avLst>
              <a:gd name="adj" fmla="val 61244"/>
            </a:avLst>
          </a:prstGeom>
          <a:noFill/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Runde Klammer rechts 18"/>
          <p:cNvSpPr/>
          <p:nvPr/>
        </p:nvSpPr>
        <p:spPr bwMode="auto">
          <a:xfrm>
            <a:off x="6318771" y="3717032"/>
            <a:ext cx="225058" cy="1944216"/>
          </a:xfrm>
          <a:prstGeom prst="rightBracket">
            <a:avLst>
              <a:gd name="adj" fmla="val 83691"/>
            </a:avLst>
          </a:prstGeom>
          <a:noFill/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3" name="Inhaltsplatzhalter 5"/>
              <p:cNvSpPr txBox="1">
                <a:spLocks/>
              </p:cNvSpPr>
              <p:nvPr/>
            </p:nvSpPr>
            <p:spPr bwMode="auto">
              <a:xfrm>
                <a:off x="6885801" y="2492895"/>
                <a:ext cx="2889354" cy="393709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lang="de-DE" sz="1600" dirty="0" smtClean="0">
                    <a:solidFill>
                      <a:schemeClr val="tx1"/>
                    </a:solidFill>
                    <a:latin typeface="DB Office" panose="020B0604020202020204" pitchFamily="34" charset="0"/>
                    <a:ea typeface="+mn-ea"/>
                    <a:cs typeface="+mn-cs"/>
                  </a:defRPr>
                </a:lvl1pPr>
                <a:lvl2pPr marL="180000" indent="-1800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SzPct val="85000"/>
                  <a:buFont typeface="Wingdings" pitchFamily="2" charset="2"/>
                  <a:buChar char="n"/>
                  <a:defRPr lang="de-DE" sz="1600" dirty="0" smtClean="0">
                    <a:solidFill>
                      <a:schemeClr val="tx1"/>
                    </a:solidFill>
                    <a:latin typeface="DB Office" panose="020B0604020202020204" pitchFamily="34" charset="0"/>
                  </a:defRPr>
                </a:lvl2pPr>
                <a:lvl3pPr marL="358775" indent="-1800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Char char="–"/>
                  <a:defRPr lang="de-DE" sz="1600" dirty="0" smtClean="0">
                    <a:solidFill>
                      <a:schemeClr val="tx1"/>
                    </a:solidFill>
                    <a:latin typeface="DB Office" panose="020B0604020202020204" pitchFamily="34" charset="0"/>
                  </a:defRPr>
                </a:lvl3pPr>
                <a:lvl4pPr marL="540000" indent="-1800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Font typeface="Wingdings" pitchFamily="2" charset="2"/>
                  <a:buChar char="§"/>
                  <a:defRPr lang="de-DE" sz="1600" dirty="0" smtClean="0">
                    <a:solidFill>
                      <a:schemeClr val="tx1"/>
                    </a:solidFill>
                    <a:latin typeface="DB Office" panose="020B0604020202020204" pitchFamily="34" charset="0"/>
                  </a:defRPr>
                </a:lvl4pPr>
                <a:lvl5pPr marL="720000" indent="-1800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Char char="–"/>
                  <a:defRPr lang="de-DE" sz="1600" dirty="0">
                    <a:solidFill>
                      <a:schemeClr val="tx1"/>
                    </a:solidFill>
                    <a:latin typeface="DB Office" panose="020B0604020202020204" pitchFamily="34" charset="0"/>
                  </a:defRPr>
                </a:lvl5pPr>
                <a:lvl6pPr marL="1185863" indent="-182563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1643063" indent="-182563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2100263" indent="-182563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2557463" indent="-182563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>
                  <a:defRPr/>
                </a:pPr>
                <a:r>
                  <a:rPr lang="de-DE" sz="1200" u="sng" kern="0" dirty="0" err="1">
                    <a:solidFill>
                      <a:srgbClr val="000000"/>
                    </a:solidFill>
                  </a:rPr>
                  <a:t>Fahrlage</a:t>
                </a:r>
                <a:r>
                  <a:rPr lang="de-DE" sz="1200" u="sng" kern="0" dirty="0">
                    <a:solidFill>
                      <a:srgbClr val="000000"/>
                    </a:solidFill>
                  </a:rPr>
                  <a:t> </a:t>
                </a:r>
                <a:r>
                  <a:rPr lang="de-DE" sz="1200" u="sng" kern="0" dirty="0" smtClean="0">
                    <a:solidFill>
                      <a:srgbClr val="000000"/>
                    </a:solidFill>
                  </a:rPr>
                  <a:t>r</a:t>
                </a:r>
                <a:r>
                  <a:rPr lang="de-DE" sz="1200" u="sng" kern="0" baseline="-25000" dirty="0" smtClean="0">
                    <a:solidFill>
                      <a:srgbClr val="000000"/>
                    </a:solidFill>
                  </a:rPr>
                  <a:t>2</a:t>
                </a:r>
                <a:r>
                  <a:rPr lang="de-DE" sz="1200" u="sng" kern="0" dirty="0" smtClean="0">
                    <a:solidFill>
                      <a:srgbClr val="000000"/>
                    </a:solidFill>
                  </a:rPr>
                  <a:t>:</a:t>
                </a:r>
                <a:endParaRPr lang="de-DE" sz="1200" u="sng" kern="0" dirty="0">
                  <a:solidFill>
                    <a:srgbClr val="000000"/>
                  </a:solidFill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kumimoji="0" lang="ar-AE" sz="1200" b="1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1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𝒑</m:t>
                        </m:r>
                      </m:e>
                      <m:sub>
                        <m:r>
                          <a:rPr kumimoji="0" lang="ar-AE" sz="1200" b="1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𝟎</m:t>
                        </m:r>
                      </m:sub>
                      <m:sup>
                        <m:r>
                          <a:rPr kumimoji="0" lang="de-DE" sz="1200" b="1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𝟐</m:t>
                        </m:r>
                      </m:sup>
                    </m:sSubSup>
                    <m:d>
                      <m:d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dPr>
                      <m:e>
                        <m:r>
                          <a:rPr kumimoji="0" lang="ar-A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=</m:t>
                        </m:r>
                        <m:sSubSup>
                          <m:sSubSupPr>
                            <m:ctrlPr>
                              <a:rPr kumimoji="0" lang="ar-AE" sz="1200" b="0" i="1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  <a:ea typeface="+mn-ea"/>
                                <a:cs typeface="+mn-cs"/>
                              </a:rPr>
                            </m:ctrlPr>
                          </m:sSubSup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  <a:ea typeface="+mn-ea"/>
                                <a:cs typeface="+mn-cs"/>
                              </a:rPr>
                              <m:t>𝑥</m:t>
                            </m:r>
                          </m:e>
                          <m:sub>
                            <m:r>
                              <a:rPr kumimoji="0" lang="ar-AE" sz="1200" b="0" i="1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  <a:ea typeface="+mn-ea"/>
                                <a:cs typeface="+mn-cs"/>
                              </a:rPr>
                              <m:t>0</m:t>
                            </m:r>
                          </m:sub>
                          <m:sup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  <a:ea typeface="+mn-ea"/>
                                <a:cs typeface="+mn-cs"/>
                              </a:rPr>
                              <m:t>2</m:t>
                            </m:r>
                          </m:sup>
                        </m:sSubSup>
                      </m:e>
                    </m:d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/>
                </a:r>
                <a:b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</a:b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(0,1,1)</a:t>
                </a:r>
                <a:endParaRPr kumimoji="0" lang="ar-A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r>
                      <a:rPr kumimoji="0" lang="ar-AE" sz="1200" b="1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 </m:t>
                    </m:r>
                    <m:sSubSup>
                      <m:sSubSupPr>
                        <m:ctrlPr>
                          <a:rPr kumimoji="0" lang="ar-AE" sz="1200" b="1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1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𝒑</m:t>
                        </m:r>
                      </m:e>
                      <m:sub>
                        <m:r>
                          <a:rPr kumimoji="0" lang="ar-AE" sz="1200" b="1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𝟏</m:t>
                        </m:r>
                      </m:sub>
                      <m:sup>
                        <m:r>
                          <a:rPr kumimoji="0" lang="de-DE" sz="1200" b="1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𝟐</m:t>
                        </m:r>
                      </m:sup>
                    </m:sSubSup>
                  </m:oMath>
                </a14:m>
                <a:r>
                  <a:rPr kumimoji="0" lang="ar-AE" sz="12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: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r>
                      <a:rPr kumimoji="0" lang="ar-AE" sz="12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 </m:t>
                    </m:r>
                    <m:sSubSup>
                      <m:sSubSupPr>
                        <m:ctrlPr>
                          <a:rPr kumimoji="0" lang="ar-A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2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2</m:t>
                        </m:r>
                      </m:sup>
                    </m:sSubSup>
                  </m:oMath>
                </a14:m>
                <a:r>
                  <a:rPr kumimoji="0" lang="ar-A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/>
                </a:r>
                <a:b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</a:b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(0,1,1)</a:t>
                </a:r>
                <a:endParaRPr kumimoji="0" lang="ar-A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  <a:sym typeface="Wingdings" panose="05000000000000000000" pitchFamily="2" charset="2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  <a:sym typeface="Wingdings" panose="05000000000000000000" pitchFamily="2" charset="2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200" kern="0" dirty="0">
                  <a:solidFill>
                    <a:srgbClr val="000000"/>
                  </a:solidFill>
                  <a:sym typeface="Wingdings" panose="05000000000000000000" pitchFamily="2" charset="2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  <a:sym typeface="Wingdings" panose="05000000000000000000" pitchFamily="2" charset="2"/>
                </a:endParaRPr>
              </a:p>
              <a:p>
                <a:pPr marL="285750" lvl="0" indent="-285750">
                  <a:buFont typeface="Wingdings"/>
                  <a:buChar char="à"/>
                </a:pPr>
                <a:r>
                  <a:rPr kumimoji="0" lang="de-DE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  <a:sym typeface="Wingdings" panose="05000000000000000000" pitchFamily="2" charset="2"/>
                  </a:rPr>
                  <a:t>w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  <a:sym typeface="Wingdings" panose="05000000000000000000" pitchFamily="2" charset="2"/>
                  </a:rPr>
                  <a:t>ähle nur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kumimoji="0" lang="ar-A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𝑝</m:t>
                        </m:r>
                      </m:e>
                      <m:sub>
                        <m:r>
                          <a:rPr kumimoji="0" lang="ar-A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0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2</m:t>
                        </m:r>
                      </m:sup>
                    </m:sSubSup>
                  </m:oMath>
                </a14:m>
                <a:r>
                  <a:rPr kumimoji="0" lang="ar-A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für SAT, da bereits für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𝑝</m:t>
                        </m:r>
                      </m:e>
                      <m:sub>
                        <m:r>
                          <a:rPr lang="ar-A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 ein Weg gefunden wurde</a:t>
                </a:r>
                <a:r>
                  <a:rPr kumimoji="0" lang="de-DE" sz="1200" b="0" i="0" u="none" strike="noStrike" kern="0" cap="none" spc="0" normalizeH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  <a:br>
                  <a:rPr kumimoji="0" lang="de-DE" sz="1200" b="0" i="0" u="none" strike="noStrike" kern="0" cap="none" spc="0" normalizeH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</a:br>
                <a:r>
                  <a:rPr kumimoji="0" lang="de-DE" sz="1200" b="0" i="0" u="none" strike="noStrike" kern="0" cap="none" spc="0" normalizeH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(zudem gilt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  <m:r>
                      <a:rPr lang="de-DE" sz="1200" b="0" i="1" kern="0" smtClean="0">
                        <a:solidFill>
                          <a:srgbClr val="000000"/>
                        </a:solidFill>
                        <a:latin typeface="Cambria Math"/>
                      </a:rPr>
                      <m:t>=</m:t>
                    </m:r>
                    <m:sSubSup>
                      <m:sSubSupPr>
                        <m:ctrlPr>
                          <a:rPr lang="ar-A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)</a:t>
                </a:r>
                <a:endPara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285750" marR="0" lvl="0" indent="-28575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/>
                  <a:buChar char="à"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ar-A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ar-A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0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2</m:t>
                        </m:r>
                      </m:sup>
                    </m:sSubSup>
                    <m:r>
                      <a:rPr kumimoji="0" lang="ar-AE" sz="12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kumimoji="0" lang="ar-A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0" lang="ar-A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  <a:ea typeface="+mn-ea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  <a:ea typeface="+mn-ea"/>
                                <a:cs typeface="+mn-cs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ar-A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  <a:ea typeface="+mn-ea"/>
                                <a:cs typeface="+mn-cs"/>
                              </a:rPr>
                              <m:t>1</m:t>
                            </m:r>
                          </m:sub>
                        </m:sSub>
                      </m:e>
                    </m:d>
                  </m:oMath>
                </a14:m>
                <a:endParaRPr kumimoji="0" lang="ar-A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83" name="Inhaltsplatzhalter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885801" y="2492895"/>
                <a:ext cx="2889354" cy="3937093"/>
              </a:xfrm>
              <a:prstGeom prst="rect">
                <a:avLst/>
              </a:prstGeom>
              <a:blipFill rotWithShape="1">
                <a:blip r:embed="rId9"/>
                <a:stretch>
                  <a:fillRect l="-3376" t="-1393" r="-422" b="-4954"/>
                </a:stretch>
              </a:blipFill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4" name="Flussdiagramm: Verbindungsstelle 83"/>
          <p:cNvSpPr/>
          <p:nvPr/>
        </p:nvSpPr>
        <p:spPr bwMode="auto">
          <a:xfrm>
            <a:off x="7749897" y="3108013"/>
            <a:ext cx="360000" cy="360000"/>
          </a:xfrm>
          <a:prstGeom prst="flowChartConnector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rPr>
              <a:t>Q</a:t>
            </a:r>
          </a:p>
        </p:txBody>
      </p:sp>
      <p:sp>
        <p:nvSpPr>
          <p:cNvPr id="85" name="Flussdiagramm: Verbindungsstelle 84"/>
          <p:cNvSpPr/>
          <p:nvPr/>
        </p:nvSpPr>
        <p:spPr bwMode="auto">
          <a:xfrm>
            <a:off x="9190057" y="3108013"/>
            <a:ext cx="360000" cy="360000"/>
          </a:xfrm>
          <a:prstGeom prst="flowChartConnector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rPr>
              <a:t>S</a:t>
            </a:r>
          </a:p>
        </p:txBody>
      </p:sp>
      <p:cxnSp>
        <p:nvCxnSpPr>
          <p:cNvPr id="86" name="Gerade Verbindung mit Pfeil 85"/>
          <p:cNvCxnSpPr>
            <a:stCxn id="84" idx="6"/>
            <a:endCxn id="85" idx="2"/>
          </p:cNvCxnSpPr>
          <p:nvPr/>
        </p:nvCxnSpPr>
        <p:spPr bwMode="auto">
          <a:xfrm>
            <a:off x="8109897" y="3288013"/>
            <a:ext cx="1080160" cy="0"/>
          </a:xfrm>
          <a:prstGeom prst="straightConnector1">
            <a:avLst/>
          </a:prstGeom>
          <a:solidFill>
            <a:srgbClr val="C8CDD2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7" name="Gekrümmte Verbindung 86"/>
          <p:cNvCxnSpPr>
            <a:stCxn id="84" idx="0"/>
            <a:endCxn id="85" idx="0"/>
          </p:cNvCxnSpPr>
          <p:nvPr/>
        </p:nvCxnSpPr>
        <p:spPr bwMode="auto">
          <a:xfrm rot="5400000" flipH="1" flipV="1">
            <a:off x="8649977" y="2387933"/>
            <a:ext cx="12700" cy="1440160"/>
          </a:xfrm>
          <a:prstGeom prst="curvedConnector3">
            <a:avLst>
              <a:gd name="adj1" fmla="val 1800000"/>
            </a:avLst>
          </a:prstGeom>
          <a:solidFill>
            <a:srgbClr val="C8CDD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8" name="Textfeld 87"/>
              <p:cNvSpPr txBox="1"/>
              <p:nvPr/>
            </p:nvSpPr>
            <p:spPr>
              <a:xfrm>
                <a:off x="8397969" y="3069913"/>
                <a:ext cx="628970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 (1,1,1)</a:t>
                </a:r>
              </a:p>
            </p:txBody>
          </p:sp>
        </mc:Choice>
        <mc:Fallback xmlns="">
          <p:sp>
            <p:nvSpPr>
              <p:cNvPr id="88" name="Textfeld 8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97969" y="3069913"/>
                <a:ext cx="628970" cy="184666"/>
              </a:xfrm>
              <a:prstGeom prst="rect">
                <a:avLst/>
              </a:prstGeom>
              <a:blipFill rotWithShape="1">
                <a:blip r:embed="rId5"/>
                <a:stretch>
                  <a:fillRect l="-6796" t="-30000" r="-9709" b="-466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9" name="Textfeld 88"/>
              <p:cNvSpPr txBox="1"/>
              <p:nvPr/>
            </p:nvSpPr>
            <p:spPr>
              <a:xfrm>
                <a:off x="8397970" y="2636911"/>
                <a:ext cx="628970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2</m:t>
                        </m:r>
                      </m:sub>
                    </m:sSub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(1,1,0)</a:t>
                </a:r>
                <a:endParaRPr kumimoji="0" lang="de-DE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89" name="Textfeld 8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97970" y="2636911"/>
                <a:ext cx="628970" cy="184666"/>
              </a:xfrm>
              <a:prstGeom prst="rect">
                <a:avLst/>
              </a:prstGeom>
              <a:blipFill rotWithShape="1">
                <a:blip r:embed="rId6"/>
                <a:stretch>
                  <a:fillRect l="-6796" t="-30000" r="-4854" b="-466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0" name="Flussdiagramm: Verbindungsstelle 89"/>
          <p:cNvSpPr/>
          <p:nvPr/>
        </p:nvSpPr>
        <p:spPr bwMode="auto">
          <a:xfrm>
            <a:off x="7743768" y="4368089"/>
            <a:ext cx="360000" cy="360000"/>
          </a:xfrm>
          <a:prstGeom prst="flowChartConnector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rPr>
              <a:t>Q</a:t>
            </a:r>
          </a:p>
        </p:txBody>
      </p:sp>
      <p:sp>
        <p:nvSpPr>
          <p:cNvPr id="91" name="Flussdiagramm: Verbindungsstelle 90"/>
          <p:cNvSpPr/>
          <p:nvPr/>
        </p:nvSpPr>
        <p:spPr bwMode="auto">
          <a:xfrm>
            <a:off x="9262105" y="4368089"/>
            <a:ext cx="360000" cy="360000"/>
          </a:xfrm>
          <a:prstGeom prst="flowChartConnector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rPr>
              <a:t>S</a:t>
            </a:r>
          </a:p>
        </p:txBody>
      </p:sp>
      <p:cxnSp>
        <p:nvCxnSpPr>
          <p:cNvPr id="92" name="Gerade Verbindung mit Pfeil 91"/>
          <p:cNvCxnSpPr>
            <a:stCxn id="90" idx="6"/>
            <a:endCxn id="91" idx="2"/>
          </p:cNvCxnSpPr>
          <p:nvPr/>
        </p:nvCxnSpPr>
        <p:spPr bwMode="auto">
          <a:xfrm>
            <a:off x="8103768" y="4548089"/>
            <a:ext cx="1158337" cy="0"/>
          </a:xfrm>
          <a:prstGeom prst="straightConnector1">
            <a:avLst/>
          </a:prstGeom>
          <a:solidFill>
            <a:srgbClr val="C8CDD2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3" name="Gekrümmte Verbindung 92"/>
          <p:cNvCxnSpPr>
            <a:stCxn id="90" idx="0"/>
            <a:endCxn id="91" idx="0"/>
          </p:cNvCxnSpPr>
          <p:nvPr/>
        </p:nvCxnSpPr>
        <p:spPr bwMode="auto">
          <a:xfrm rot="5400000" flipH="1" flipV="1">
            <a:off x="8682936" y="3608921"/>
            <a:ext cx="12700" cy="1518337"/>
          </a:xfrm>
          <a:prstGeom prst="curvedConnector3">
            <a:avLst>
              <a:gd name="adj1" fmla="val 1800000"/>
            </a:avLst>
          </a:prstGeom>
          <a:solidFill>
            <a:srgbClr val="C8CDD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94" name="Textfeld 93"/>
              <p:cNvSpPr txBox="1"/>
              <p:nvPr/>
            </p:nvSpPr>
            <p:spPr>
              <a:xfrm>
                <a:off x="8415998" y="4324453"/>
                <a:ext cx="628970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 (1,1,1)</a:t>
                </a:r>
              </a:p>
            </p:txBody>
          </p:sp>
        </mc:Choice>
        <mc:Fallback xmlns="">
          <p:sp>
            <p:nvSpPr>
              <p:cNvPr id="94" name="Textfeld 9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15998" y="4324453"/>
                <a:ext cx="628970" cy="184666"/>
              </a:xfrm>
              <a:prstGeom prst="rect">
                <a:avLst/>
              </a:prstGeom>
              <a:blipFill rotWithShape="1">
                <a:blip r:embed="rId7"/>
                <a:stretch>
                  <a:fillRect l="-6796" t="-25806" r="-9709" b="-4516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5" name="Textfeld 94"/>
              <p:cNvSpPr txBox="1"/>
              <p:nvPr/>
            </p:nvSpPr>
            <p:spPr>
              <a:xfrm>
                <a:off x="8415997" y="3933055"/>
                <a:ext cx="683816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2</m:t>
                        </m:r>
                      </m:sub>
                    </m:sSub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(1,1,0)</a:t>
                </a:r>
                <a:endParaRPr kumimoji="0" lang="de-DE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95" name="Textfeld 9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15997" y="3933055"/>
                <a:ext cx="683816" cy="184666"/>
              </a:xfrm>
              <a:prstGeom prst="rect">
                <a:avLst/>
              </a:prstGeom>
              <a:blipFill rotWithShape="1">
                <a:blip r:embed="rId8"/>
                <a:stretch>
                  <a:fillRect l="-6250" t="-26667" b="-50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2" name="Runde Klammer links 101"/>
          <p:cNvSpPr/>
          <p:nvPr/>
        </p:nvSpPr>
        <p:spPr bwMode="auto">
          <a:xfrm>
            <a:off x="6741785" y="3717031"/>
            <a:ext cx="288032" cy="1192779"/>
          </a:xfrm>
          <a:prstGeom prst="leftBracket">
            <a:avLst>
              <a:gd name="adj" fmla="val 61244"/>
            </a:avLst>
          </a:prstGeom>
          <a:noFill/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3" name="Runde Klammer rechts 102"/>
          <p:cNvSpPr/>
          <p:nvPr/>
        </p:nvSpPr>
        <p:spPr bwMode="auto">
          <a:xfrm>
            <a:off x="9550057" y="3717031"/>
            <a:ext cx="225098" cy="1192779"/>
          </a:xfrm>
          <a:prstGeom prst="rightBracket">
            <a:avLst>
              <a:gd name="adj" fmla="val 83691"/>
            </a:avLst>
          </a:prstGeom>
          <a:noFill/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969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blauf SAT-Modell in der ganzjährigen Belegung (4/X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Patrick Breun, Jordis Wächter | Dresden | 19.12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70099" y="1844824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SAT löse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15" name="Gerade Verbindung mit Pfeil 14"/>
          <p:cNvCxnSpPr>
            <a:stCxn id="12" idx="2"/>
          </p:cNvCxnSpPr>
          <p:nvPr/>
        </p:nvCxnSpPr>
        <p:spPr bwMode="auto">
          <a:xfrm>
            <a:off x="1674255" y="2284519"/>
            <a:ext cx="0" cy="425987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mit Pfeil 20"/>
          <p:cNvCxnSpPr>
            <a:endCxn id="12" idx="0"/>
          </p:cNvCxnSpPr>
          <p:nvPr/>
        </p:nvCxnSpPr>
        <p:spPr bwMode="auto">
          <a:xfrm>
            <a:off x="1674255" y="1592796"/>
            <a:ext cx="0" cy="25202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5" name="Gruppieren 54"/>
          <p:cNvGrpSpPr/>
          <p:nvPr/>
        </p:nvGrpSpPr>
        <p:grpSpPr>
          <a:xfrm>
            <a:off x="3942507" y="2130122"/>
            <a:ext cx="2147274" cy="2344907"/>
            <a:chOff x="7950308" y="1171328"/>
            <a:chExt cx="1419725" cy="1385525"/>
          </a:xfrm>
        </p:grpSpPr>
        <p:cxnSp>
          <p:nvCxnSpPr>
            <p:cNvPr id="56" name="Gerade Verbindung mit Pfeil 55"/>
            <p:cNvCxnSpPr/>
            <p:nvPr/>
          </p:nvCxnSpPr>
          <p:spPr bwMode="auto">
            <a:xfrm>
              <a:off x="8479109" y="1299096"/>
              <a:ext cx="0" cy="1130115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/>
          </p:nvCxnSpPr>
          <p:spPr bwMode="auto">
            <a:xfrm>
              <a:off x="8479109" y="1299096"/>
              <a:ext cx="469819" cy="513183"/>
            </a:xfrm>
            <a:prstGeom prst="line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mit Pfeil 57"/>
            <p:cNvCxnSpPr/>
            <p:nvPr/>
          </p:nvCxnSpPr>
          <p:spPr bwMode="auto">
            <a:xfrm flipH="1">
              <a:off x="8492221" y="1812279"/>
              <a:ext cx="456706" cy="616932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9" name="Textfeld 58"/>
            <p:cNvSpPr txBox="1"/>
            <p:nvPr/>
          </p:nvSpPr>
          <p:spPr>
            <a:xfrm>
              <a:off x="8132171" y="1171328"/>
              <a:ext cx="720100" cy="1091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Quelle (Q)</a:t>
              </a:r>
            </a:p>
          </p:txBody>
        </p:sp>
        <p:sp>
          <p:nvSpPr>
            <p:cNvPr id="60" name="Textfeld 59"/>
            <p:cNvSpPr txBox="1"/>
            <p:nvPr/>
          </p:nvSpPr>
          <p:spPr>
            <a:xfrm>
              <a:off x="8132171" y="2447740"/>
              <a:ext cx="720100" cy="1091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Senke (S)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1" name="Textfeld 60"/>
                <p:cNvSpPr txBox="1"/>
                <p:nvPr/>
              </p:nvSpPr>
              <p:spPr>
                <a:xfrm>
                  <a:off x="7950308" y="1714828"/>
                  <a:ext cx="560532" cy="21822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 Math"/>
                  </a:endParaRPr>
                </a:p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9A9A9A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9A9A9A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</m:t>
                            </m:r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9A9A9A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,</m:t>
                            </m:r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9A9A9A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</m:t>
                            </m:r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9A9A9A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,</m:t>
                            </m:r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9A9A9A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</m:t>
                            </m:r>
                          </m:e>
                        </m:d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61" name="Textfeld 6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50308" y="1714828"/>
                  <a:ext cx="560532" cy="218226"/>
                </a:xfrm>
                <a:prstGeom prst="rect">
                  <a:avLst/>
                </a:prstGeom>
                <a:blipFill rotWithShape="1">
                  <a:blip r:embed="rId3"/>
                  <a:stretch>
                    <a:fillRect b="-3279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2" name="Textfeld 61"/>
                <p:cNvSpPr txBox="1"/>
                <p:nvPr/>
              </p:nvSpPr>
              <p:spPr>
                <a:xfrm>
                  <a:off x="8853713" y="1720319"/>
                  <a:ext cx="516320" cy="21822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9A9A9A"/>
                      </a:solidFill>
                      <a:effectLst/>
                      <a:uLnTx/>
                      <a:uFillTx/>
                    </a:rPr>
                    <a:t>(1,1,0)</a:t>
                  </a:r>
                </a:p>
              </p:txBody>
            </p:sp>
          </mc:Choice>
          <mc:Fallback xmlns="">
            <p:sp>
              <p:nvSpPr>
                <p:cNvPr id="62" name="Textfeld 6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853713" y="1720319"/>
                  <a:ext cx="516320" cy="218226"/>
                </a:xfrm>
                <a:prstGeom prst="rect">
                  <a:avLst/>
                </a:prstGeom>
                <a:blipFill rotWithShape="1">
                  <a:blip r:embed="rId4"/>
                  <a:stretch>
                    <a:fillRect b="-2333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67" name="Gerade Verbindung mit Pfeil 66"/>
          <p:cNvCxnSpPr/>
          <p:nvPr/>
        </p:nvCxnSpPr>
        <p:spPr bwMode="auto">
          <a:xfrm>
            <a:off x="4691162" y="2346360"/>
            <a:ext cx="0" cy="1912643"/>
          </a:xfrm>
          <a:prstGeom prst="straightConnector1">
            <a:avLst/>
          </a:prstGeom>
          <a:solidFill>
            <a:srgbClr val="C8CDD2"/>
          </a:solidFill>
          <a:ln w="9525" cap="flat" cmpd="sng" algn="ctr">
            <a:solidFill>
              <a:srgbClr val="00006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hteck 12"/>
              <p:cNvSpPr/>
              <p:nvPr/>
            </p:nvSpPr>
            <p:spPr>
              <a:xfrm>
                <a:off x="3574309" y="2306135"/>
                <a:ext cx="792088" cy="47448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ar-AE" sz="1200" b="1" i="1" kern="0" smtClean="0">
                              <a:solidFill>
                                <a:srgbClr val="000066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kern="0">
                              <a:solidFill>
                                <a:srgbClr val="000066"/>
                              </a:solidFill>
                              <a:latin typeface="Cambria Math"/>
                            </a:rPr>
                            <m:t>𝒑</m:t>
                          </m:r>
                        </m:e>
                        <m:sub>
                          <m:r>
                            <a:rPr lang="ar-AE" sz="1200" b="1" i="1" kern="0">
                              <a:solidFill>
                                <a:srgbClr val="000066"/>
                              </a:solidFill>
                              <a:latin typeface="Cambria Math"/>
                            </a:rPr>
                            <m:t>𝟎</m:t>
                          </m:r>
                        </m:sub>
                        <m:sup>
                          <m:r>
                            <a:rPr lang="ar-AE" sz="1200" b="1" i="1" kern="0">
                              <a:solidFill>
                                <a:srgbClr val="000066"/>
                              </a:solidFill>
                              <a:latin typeface="Cambria Math"/>
                            </a:rPr>
                            <m:t>𝟏</m:t>
                          </m:r>
                        </m:sup>
                      </m:sSubSup>
                      <m:d>
                        <m:dPr>
                          <m:ctrlPr>
                            <a:rPr lang="de-DE" sz="1200" b="1" i="1" kern="0">
                              <a:solidFill>
                                <a:srgbClr val="000066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r>
                            <a:rPr lang="ar-AE" sz="1200" i="1" kern="0">
                              <a:solidFill>
                                <a:srgbClr val="000066"/>
                              </a:solidFill>
                              <a:latin typeface="Cambria Math"/>
                            </a:rPr>
                            <m:t>=</m:t>
                          </m:r>
                          <m:sSubSup>
                            <m:sSubSupPr>
                              <m:ctrlPr>
                                <a:rPr lang="ar-AE" sz="1200" i="1" kern="0">
                                  <a:solidFill>
                                    <a:srgbClr val="000066"/>
                                  </a:solidFill>
                                  <a:latin typeface="Cambria Math"/>
                                </a:rPr>
                              </m:ctrlPr>
                            </m:sSubSupPr>
                            <m:e>
                              <m:r>
                                <a:rPr lang="de-DE" sz="1200" i="1" kern="0">
                                  <a:solidFill>
                                    <a:srgbClr val="000066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ar-AE" sz="1200" i="1" kern="0">
                                  <a:solidFill>
                                    <a:srgbClr val="000066"/>
                                  </a:solidFill>
                                  <a:latin typeface="Cambria Math"/>
                                </a:rPr>
                                <m:t>0</m:t>
                              </m:r>
                            </m:sub>
                            <m:sup>
                              <m:r>
                                <a:rPr lang="ar-AE" sz="1200" i="1" kern="0">
                                  <a:solidFill>
                                    <a:srgbClr val="000066"/>
                                  </a:solidFill>
                                  <a:latin typeface="Cambria Math"/>
                                </a:rPr>
                                <m:t>1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r>
                  <a:rPr lang="de-DE" sz="1200" kern="0" dirty="0" smtClean="0">
                    <a:solidFill>
                      <a:srgbClr val="000000"/>
                    </a:solidFill>
                  </a:rPr>
                  <a:t/>
                </a:r>
                <a:br>
                  <a:rPr lang="de-DE" sz="1200" kern="0" dirty="0" smtClean="0">
                    <a:solidFill>
                      <a:srgbClr val="000000"/>
                    </a:solidFill>
                  </a:rPr>
                </a:br>
                <a:r>
                  <a:rPr lang="ar-AE" sz="1200" kern="0" dirty="0" smtClean="0">
                    <a:solidFill>
                      <a:srgbClr val="9A9A9A"/>
                    </a:solidFill>
                  </a:rPr>
                  <a:t>(1,1,0</a:t>
                </a:r>
                <a:r>
                  <a:rPr lang="de-DE" sz="1200" kern="0" dirty="0" smtClean="0">
                    <a:solidFill>
                      <a:srgbClr val="9A9A9A"/>
                    </a:solidFill>
                  </a:rPr>
                  <a:t>)</a:t>
                </a:r>
                <a:endParaRPr lang="de-DE" sz="1200" dirty="0">
                  <a:solidFill>
                    <a:srgbClr val="9A9A9A"/>
                  </a:solidFill>
                </a:endParaRPr>
              </a:p>
            </p:txBody>
          </p:sp>
        </mc:Choice>
        <mc:Fallback xmlns="">
          <p:sp>
            <p:nvSpPr>
              <p:cNvPr id="13" name="Rechteck 1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74309" y="2306135"/>
                <a:ext cx="792088" cy="474489"/>
              </a:xfrm>
              <a:prstGeom prst="rect">
                <a:avLst/>
              </a:prstGeom>
              <a:blipFill rotWithShape="1">
                <a:blip r:embed="rId5"/>
                <a:stretch>
                  <a:fillRect b="-769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" name="Gerade Verbindung 15"/>
          <p:cNvCxnSpPr/>
          <p:nvPr/>
        </p:nvCxnSpPr>
        <p:spPr bwMode="auto">
          <a:xfrm>
            <a:off x="4208042" y="2616342"/>
            <a:ext cx="473595" cy="9257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96" name="Rechteck 95"/>
              <p:cNvSpPr/>
              <p:nvPr/>
            </p:nvSpPr>
            <p:spPr>
              <a:xfrm>
                <a:off x="5382667" y="2204864"/>
                <a:ext cx="792088" cy="47448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ar-AE" sz="1200" b="1" i="1" kern="0" smtClean="0">
                              <a:solidFill>
                                <a:schemeClr val="accent2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kern="0">
                              <a:solidFill>
                                <a:schemeClr val="accent2"/>
                              </a:solidFill>
                              <a:latin typeface="Cambria Math"/>
                            </a:rPr>
                            <m:t>𝒑</m:t>
                          </m:r>
                        </m:e>
                        <m:sub>
                          <m:r>
                            <a:rPr lang="ar-AE" sz="1200" b="1" i="1" kern="0">
                              <a:solidFill>
                                <a:schemeClr val="accent2"/>
                              </a:solidFill>
                              <a:latin typeface="Cambria Math"/>
                            </a:rPr>
                            <m:t>𝟎</m:t>
                          </m:r>
                        </m:sub>
                        <m:sup>
                          <m:r>
                            <a:rPr lang="de-DE" sz="1200" b="1" i="1" kern="0" smtClean="0">
                              <a:solidFill>
                                <a:schemeClr val="accent2"/>
                              </a:solidFill>
                              <a:latin typeface="Cambria Math"/>
                            </a:rPr>
                            <m:t>𝟐</m:t>
                          </m:r>
                        </m:sup>
                      </m:sSubSup>
                      <m:d>
                        <m:dPr>
                          <m:ctrlPr>
                            <a:rPr lang="de-DE" sz="1200" b="1" i="1" kern="0">
                              <a:solidFill>
                                <a:schemeClr val="accent2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r>
                            <a:rPr lang="ar-AE" sz="1200" i="1" kern="0">
                              <a:solidFill>
                                <a:schemeClr val="accent2"/>
                              </a:solidFill>
                              <a:latin typeface="Cambria Math"/>
                            </a:rPr>
                            <m:t>=</m:t>
                          </m:r>
                          <m:sSubSup>
                            <m:sSubSupPr>
                              <m:ctrlPr>
                                <a:rPr lang="ar-AE" sz="1200" i="1" kern="0">
                                  <a:solidFill>
                                    <a:schemeClr val="accent2"/>
                                  </a:solidFill>
                                  <a:latin typeface="Cambria Math"/>
                                </a:rPr>
                              </m:ctrlPr>
                            </m:sSubSupPr>
                            <m:e>
                              <m:r>
                                <a:rPr lang="de-DE" sz="1200" i="1" kern="0">
                                  <a:solidFill>
                                    <a:schemeClr val="accent2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ar-AE" sz="1200" i="1" kern="0">
                                  <a:solidFill>
                                    <a:schemeClr val="accent2"/>
                                  </a:solidFill>
                                  <a:latin typeface="Cambria Math"/>
                                </a:rPr>
                                <m:t>0</m:t>
                              </m:r>
                            </m:sub>
                            <m:sup>
                              <m:r>
                                <a:rPr lang="de-DE" sz="1200" b="0" i="1" kern="0" smtClean="0">
                                  <a:solidFill>
                                    <a:schemeClr val="accent2"/>
                                  </a:solidFill>
                                  <a:latin typeface="Cambria Math"/>
                                </a:rPr>
                                <m:t>2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r>
                  <a:rPr lang="de-DE" sz="1200" kern="0" dirty="0" smtClean="0">
                    <a:solidFill>
                      <a:srgbClr val="000000"/>
                    </a:solidFill>
                  </a:rPr>
                  <a:t/>
                </a:r>
                <a:br>
                  <a:rPr lang="de-DE" sz="1200" kern="0" dirty="0" smtClean="0">
                    <a:solidFill>
                      <a:srgbClr val="000000"/>
                    </a:solidFill>
                  </a:rPr>
                </a:br>
                <a:r>
                  <a:rPr lang="ar-AE" sz="1200" kern="0" dirty="0" smtClean="0">
                    <a:solidFill>
                      <a:srgbClr val="9A9A9A"/>
                    </a:solidFill>
                  </a:rPr>
                  <a:t>(</a:t>
                </a:r>
                <a:r>
                  <a:rPr lang="de-DE" sz="1200" kern="0" dirty="0" smtClean="0">
                    <a:solidFill>
                      <a:srgbClr val="9A9A9A"/>
                    </a:solidFill>
                  </a:rPr>
                  <a:t>0</a:t>
                </a:r>
                <a:r>
                  <a:rPr lang="ar-AE" sz="1200" kern="0" dirty="0" smtClean="0">
                    <a:solidFill>
                      <a:srgbClr val="9A9A9A"/>
                    </a:solidFill>
                  </a:rPr>
                  <a:t>,1,</a:t>
                </a:r>
                <a:r>
                  <a:rPr lang="de-DE" sz="1200" kern="0" dirty="0" smtClean="0">
                    <a:solidFill>
                      <a:srgbClr val="9A9A9A"/>
                    </a:solidFill>
                  </a:rPr>
                  <a:t>1)</a:t>
                </a:r>
                <a:endParaRPr lang="de-DE" sz="1200" dirty="0">
                  <a:solidFill>
                    <a:srgbClr val="9A9A9A"/>
                  </a:solidFill>
                </a:endParaRPr>
              </a:p>
            </p:txBody>
          </p:sp>
        </mc:Choice>
        <mc:Fallback xmlns="">
          <p:sp>
            <p:nvSpPr>
              <p:cNvPr id="96" name="Rechteck 9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82667" y="2204864"/>
                <a:ext cx="792088" cy="474489"/>
              </a:xfrm>
              <a:prstGeom prst="rect">
                <a:avLst/>
              </a:prstGeom>
              <a:blipFill rotWithShape="1">
                <a:blip r:embed="rId6"/>
                <a:stretch>
                  <a:fillRect b="-769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7" name="Gerade Verbindung 96"/>
          <p:cNvCxnSpPr/>
          <p:nvPr/>
        </p:nvCxnSpPr>
        <p:spPr bwMode="auto">
          <a:xfrm flipV="1">
            <a:off x="4762127" y="2500543"/>
            <a:ext cx="690749" cy="11579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98" name="ElementText1"/>
              <p:cNvSpPr txBox="1">
                <a:spLocks/>
              </p:cNvSpPr>
              <p:nvPr>
                <p:custDataLst>
                  <p:tags r:id="rId1"/>
                </p:custDataLst>
              </p:nvPr>
            </p:nvSpPr>
            <p:spPr>
              <a:xfrm>
                <a:off x="6390779" y="2899632"/>
                <a:ext cx="3096344" cy="103931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vert="horz" lIns="0" tIns="0" rIns="0" bIns="0" rtlCol="0">
                <a:noAutofit/>
              </a:bodyPr>
              <a:lstStyle>
                <a:defPPr>
                  <a:defRPr lang="de-DE"/>
                </a:defPPr>
                <a:lvl1pPr indent="0">
                  <a:spcBef>
                    <a:spcPct val="20000"/>
                  </a:spcBef>
                  <a:buClr>
                    <a:srgbClr val="FF0000"/>
                  </a:buClr>
                  <a:buSzPct val="85000"/>
                  <a:buFont typeface="Wingdings" pitchFamily="2" charset="2"/>
                  <a:buNone/>
                  <a:defRPr sz="1400" b="0">
                    <a:solidFill>
                      <a:srgbClr val="000000"/>
                    </a:solidFill>
                    <a:latin typeface="DB Office"/>
                  </a:defRPr>
                </a:lvl1pPr>
                <a:lvl2pPr marL="177800" lvl="1" indent="-177800">
                  <a:spcBef>
                    <a:spcPts val="600"/>
                  </a:spcBef>
                  <a:buClr>
                    <a:srgbClr val="FF0000"/>
                  </a:buClr>
                  <a:buSzPct val="85000"/>
                  <a:buFont typeface="Wingdings" pitchFamily="2" charset="2"/>
                  <a:buChar char="n"/>
                  <a:defRPr sz="1400">
                    <a:solidFill>
                      <a:srgbClr val="000000"/>
                    </a:solidFill>
                    <a:latin typeface="DB Office"/>
                  </a:defRPr>
                </a:lvl2pPr>
                <a:lvl3pPr marL="355600" lvl="2" indent="-177800">
                  <a:spcBef>
                    <a:spcPts val="300"/>
                  </a:spcBef>
                  <a:buClr>
                    <a:srgbClr val="FF0000"/>
                  </a:buClr>
                  <a:buFont typeface="Symbol" pitchFamily="18" charset="2"/>
                  <a:buChar char="-"/>
                  <a:tabLst/>
                  <a:defRPr sz="1400" baseline="0">
                    <a:solidFill>
                      <a:srgbClr val="000000"/>
                    </a:solidFill>
                    <a:latin typeface="DB Office"/>
                  </a:defRPr>
                </a:lvl3pPr>
                <a:lvl4pPr marL="533400" lvl="3" indent="-177800">
                  <a:spcBef>
                    <a:spcPts val="300"/>
                  </a:spcBef>
                  <a:buClr>
                    <a:srgbClr val="FF0000"/>
                  </a:buClr>
                  <a:buSzPct val="100000"/>
                  <a:buFont typeface="Wingdings" pitchFamily="2" charset="2"/>
                  <a:buChar char="§"/>
                  <a:defRPr sz="1400">
                    <a:solidFill>
                      <a:srgbClr val="000000"/>
                    </a:solidFill>
                    <a:latin typeface="DB Office"/>
                  </a:defRPr>
                </a:lvl4pPr>
                <a:lvl5pPr marL="723900" indent="-190500">
                  <a:spcBef>
                    <a:spcPts val="300"/>
                  </a:spcBef>
                  <a:buClr>
                    <a:srgbClr val="FF0000"/>
                  </a:buClr>
                  <a:buSzPct val="100000"/>
                  <a:buFont typeface="Wingdings" pitchFamily="2" charset="2"/>
                  <a:buChar char=""/>
                  <a:defRPr sz="1400" baseline="0">
                    <a:latin typeface="DB Office" pitchFamily="34" charset="0"/>
                  </a:defRPr>
                </a:lvl5pPr>
                <a:lvl6pPr marL="901700" indent="-177800">
                  <a:spcBef>
                    <a:spcPct val="20000"/>
                  </a:spcBef>
                  <a:buClr>
                    <a:srgbClr val="FF0000"/>
                  </a:buClr>
                  <a:buFont typeface="Wingdings" pitchFamily="2" charset="2"/>
                  <a:buChar char="§"/>
                  <a:defRPr sz="1400">
                    <a:latin typeface="DB Office" pitchFamily="34" charset="0"/>
                  </a:defRPr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lvl="1">
                  <a:spcBef>
                    <a:spcPts val="300"/>
                  </a:spcBef>
                </a:pPr>
                <a:r>
                  <a:rPr lang="de-DE" sz="1200" dirty="0" smtClean="0"/>
                  <a:t>Bisher </a:t>
                </a:r>
                <a:r>
                  <a:rPr lang="de-DE" sz="1200" dirty="0"/>
                  <a:t>existiert pro </a:t>
                </a:r>
                <a:r>
                  <a:rPr lang="de-DE" sz="1200" dirty="0" err="1"/>
                  <a:t>Fahrlage</a:t>
                </a:r>
                <a:r>
                  <a:rPr lang="de-DE" sz="1200" dirty="0"/>
                  <a:t> jeweils nur ein Weg über s</a:t>
                </a:r>
                <a:r>
                  <a:rPr lang="de-DE" sz="1200" baseline="-25000" dirty="0"/>
                  <a:t>1</a:t>
                </a:r>
                <a:r>
                  <a:rPr lang="de-DE" sz="1200" dirty="0"/>
                  <a:t> 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2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2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ar-AE" sz="1200" i="1" kern="0"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ar-AE" sz="12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ar-AE" sz="1200" i="1" kern="0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ar-AE" sz="1200" i="1" ker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2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ar-AE" sz="1200" i="1" kern="0">
                                <a:latin typeface="Cambria Math"/>
                              </a:rPr>
                              <m:t>1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sz="1200" dirty="0"/>
                  <a:t>,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200" i="1" ker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200" i="1" kern="0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 kern="0">
                            <a:latin typeface="Cambria Math"/>
                          </a:rPr>
                          <m:t>2</m:t>
                        </m:r>
                      </m:sup>
                    </m:sSubSup>
                    <m:r>
                      <a:rPr lang="ar-AE" sz="1200" i="1" kern="0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ar-AE" sz="1200" i="1" kern="0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ar-AE" sz="1200" i="1" ker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200" i="1" ker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ar-AE" sz="1200" i="1" kern="0">
                                <a:latin typeface="Cambria Math"/>
                              </a:rPr>
                              <m:t>1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sz="1200" dirty="0" smtClean="0"/>
                  <a:t>)</a:t>
                </a:r>
              </a:p>
              <a:p>
                <a:pPr lvl="1">
                  <a:spcBef>
                    <a:spcPts val="300"/>
                  </a:spcBef>
                </a:pPr>
                <a:r>
                  <a:rPr lang="de-DE" sz="1200" dirty="0" smtClean="0"/>
                  <a:t>Daher kann keine Lösung gefunden werden, die alle Fahrlagen beinhaltet</a:t>
                </a:r>
                <a:endParaRPr lang="de-DE" sz="1200" dirty="0"/>
              </a:p>
              <a:p>
                <a:pPr lvl="1">
                  <a:spcBef>
                    <a:spcPts val="300"/>
                  </a:spcBef>
                </a:pPr>
                <a:endParaRPr lang="de-DE" sz="1200" dirty="0"/>
              </a:p>
            </p:txBody>
          </p:sp>
        </mc:Choice>
        <mc:Fallback xmlns="">
          <p:sp>
            <p:nvSpPr>
              <p:cNvPr id="98" name="ElementText1"/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7"/>
                </p:custDataLst>
              </p:nvPr>
            </p:nvSpPr>
            <p:spPr>
              <a:xfrm>
                <a:off x="6390779" y="2899632"/>
                <a:ext cx="3096344" cy="1039319"/>
              </a:xfrm>
              <a:prstGeom prst="rect">
                <a:avLst/>
              </a:prstGeom>
              <a:blipFill rotWithShape="1">
                <a:blip r:embed="rId8"/>
                <a:stretch>
                  <a:fillRect l="-2165" t="-5294" r="-393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9" name="ElementText1"/>
          <p:cNvSpPr txBox="1">
            <a:spLocks/>
          </p:cNvSpPr>
          <p:nvPr/>
        </p:nvSpPr>
        <p:spPr bwMode="gray">
          <a:xfrm>
            <a:off x="270099" y="2420888"/>
            <a:ext cx="2808312" cy="3780420"/>
          </a:xfrm>
          <a:prstGeom prst="rect">
            <a:avLst/>
          </a:prstGeom>
          <a:solidFill>
            <a:srgbClr val="FFFFFF"/>
          </a:solidFill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300"/>
              </a:spcBef>
            </a:pPr>
            <a:r>
              <a:rPr lang="de-DE" sz="1200" b="1" dirty="0" smtClean="0">
                <a:solidFill>
                  <a:srgbClr val="000000"/>
                </a:solidFill>
                <a:latin typeface="DB Office"/>
              </a:rPr>
              <a:t>Bit-Schlüssel sind im SAT-Problem nicht bekannt</a:t>
            </a:r>
          </a:p>
          <a:p>
            <a:pPr lvl="1">
              <a:spcBef>
                <a:spcPts val="300"/>
              </a:spcBef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Berücksichtigung der folgenden Nebenbedingungen</a:t>
            </a:r>
          </a:p>
          <a:p>
            <a:pPr lvl="2"/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Eine Systemtrasse kann nur von einer Fahrlagenvariante belegt werden (Soll Systemtrasse von mehreren Fahrlagenvarianten genutzt werden, ist die Systemtrasse zeitlich aufzuteilen)</a:t>
            </a:r>
          </a:p>
          <a:p>
            <a:pPr lvl="2"/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von jeder Nachfrage muss genau eine Partition aktiv sein</a:t>
            </a:r>
          </a:p>
          <a:p>
            <a:pPr lvl="2"/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Wenn eine Fahrlagenvariante einer Partition aktiv ist, müssen alle Fahrlagenvarianten dieser Partition aktiv sein</a:t>
            </a:r>
          </a:p>
          <a:p>
            <a:pPr lvl="2"/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Flusserhaltung</a:t>
            </a:r>
          </a:p>
          <a:p>
            <a:pPr lvl="2"/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Verknüpfung der Systemtrassen</a:t>
            </a:r>
          </a:p>
          <a:p>
            <a:pPr lvl="2"/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Halteplatzkapazität</a:t>
            </a:r>
            <a:endParaRPr lang="de-DE" sz="1200" dirty="0">
              <a:solidFill>
                <a:srgbClr val="000000"/>
              </a:solidFill>
              <a:latin typeface="DB Office"/>
            </a:endParaRPr>
          </a:p>
        </p:txBody>
      </p:sp>
    </p:spTree>
    <p:extLst>
      <p:ext uri="{BB962C8B-B14F-4D97-AF65-F5344CB8AC3E}">
        <p14:creationId xmlns:p14="http://schemas.microsoft.com/office/powerpoint/2010/main" val="1679118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blauf SAT-Modell in der ganzjährigen Belegung (5/X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Patrick Breun, Jordis Wächter | Dresden | 19.12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70099" y="1700808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Makrokonflikt bestimmen (HLMUS)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15" name="Gerade Verbindung mit Pfeil 14"/>
          <p:cNvCxnSpPr>
            <a:stCxn id="12" idx="2"/>
            <a:endCxn id="30" idx="0"/>
          </p:cNvCxnSpPr>
          <p:nvPr/>
        </p:nvCxnSpPr>
        <p:spPr bwMode="auto">
          <a:xfrm>
            <a:off x="1674255" y="2140503"/>
            <a:ext cx="0" cy="121648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mit Pfeil 20"/>
          <p:cNvCxnSpPr>
            <a:endCxn id="12" idx="0"/>
          </p:cNvCxnSpPr>
          <p:nvPr/>
        </p:nvCxnSpPr>
        <p:spPr bwMode="auto">
          <a:xfrm>
            <a:off x="1674255" y="1556792"/>
            <a:ext cx="0" cy="14401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ElementText1"/>
          <p:cNvSpPr txBox="1">
            <a:spLocks/>
          </p:cNvSpPr>
          <p:nvPr/>
        </p:nvSpPr>
        <p:spPr bwMode="gray">
          <a:xfrm>
            <a:off x="270099" y="2276872"/>
            <a:ext cx="2808312" cy="864096"/>
          </a:xfrm>
          <a:prstGeom prst="rect">
            <a:avLst/>
          </a:prstGeom>
          <a:solidFill>
            <a:srgbClr val="FFFFFF"/>
          </a:solidFill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300"/>
              </a:spcBef>
            </a:pPr>
            <a:r>
              <a:rPr lang="de-DE" sz="1200" b="1" dirty="0">
                <a:solidFill>
                  <a:srgbClr val="000000"/>
                </a:solidFill>
                <a:latin typeface="DB Office"/>
              </a:rPr>
              <a:t>Bit-Schlüssel sind </a:t>
            </a:r>
            <a:r>
              <a:rPr lang="de-DE" sz="1200" b="1" dirty="0" smtClean="0">
                <a:solidFill>
                  <a:srgbClr val="000000"/>
                </a:solidFill>
                <a:latin typeface="DB Office"/>
              </a:rPr>
              <a:t>im HLMUS nicht bekannt</a:t>
            </a:r>
            <a:endParaRPr lang="de-DE" sz="1200" dirty="0" smtClean="0">
              <a:solidFill>
                <a:srgbClr val="000000"/>
              </a:solidFill>
              <a:latin typeface="DB Office"/>
            </a:endParaRPr>
          </a:p>
          <a:p>
            <a:pPr lvl="1">
              <a:spcBef>
                <a:spcPts val="300"/>
              </a:spcBef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Bestimmung, welche Fahrlagen </a:t>
            </a:r>
            <a:r>
              <a:rPr lang="de-DE" sz="1200" i="1" dirty="0" smtClean="0">
                <a:solidFill>
                  <a:srgbClr val="000000"/>
                </a:solidFill>
                <a:latin typeface="DB Office"/>
              </a:rPr>
              <a:t>r</a:t>
            </a: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 (nicht Fahrlagenvarianten) im Konflikt stehen</a:t>
            </a:r>
            <a:endParaRPr lang="de-DE" sz="1200" dirty="0">
              <a:solidFill>
                <a:srgbClr val="000000"/>
              </a:solidFill>
              <a:latin typeface="DB Office"/>
            </a:endParaRPr>
          </a:p>
        </p:txBody>
      </p:sp>
      <p:sp>
        <p:nvSpPr>
          <p:cNvPr id="28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654475" y="1801391"/>
            <a:ext cx="309634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300"/>
              </a:spcBef>
            </a:pPr>
            <a:r>
              <a:rPr lang="de-DE" sz="1200" dirty="0" smtClean="0"/>
              <a:t>Fahrlagen r</a:t>
            </a:r>
            <a:r>
              <a:rPr lang="de-DE" sz="1200" baseline="-25000" dirty="0" smtClean="0"/>
              <a:t>1</a:t>
            </a:r>
            <a:r>
              <a:rPr lang="de-DE" sz="1200" dirty="0" smtClean="0"/>
              <a:t> und r</a:t>
            </a:r>
            <a:r>
              <a:rPr lang="de-DE" sz="1200" baseline="-25000" dirty="0" smtClean="0"/>
              <a:t>2</a:t>
            </a:r>
            <a:r>
              <a:rPr lang="de-DE" sz="1200" dirty="0" smtClean="0"/>
              <a:t> stehen im Konflikt</a:t>
            </a:r>
            <a:br>
              <a:rPr lang="de-DE" sz="1200" dirty="0" smtClean="0"/>
            </a:br>
            <a:r>
              <a:rPr lang="de-DE" sz="1200" dirty="0" smtClean="0">
                <a:solidFill>
                  <a:schemeClr val="accent2"/>
                </a:solidFill>
              </a:rPr>
              <a:t>(oder Partitionen stehen im Konflikt</a:t>
            </a:r>
            <a:br>
              <a:rPr lang="de-DE" sz="1200" dirty="0" smtClean="0">
                <a:solidFill>
                  <a:schemeClr val="accent2"/>
                </a:solidFill>
              </a:rPr>
            </a:br>
            <a:r>
              <a:rPr lang="de-DE" sz="1200" dirty="0" smtClean="0">
                <a:solidFill>
                  <a:schemeClr val="accent2"/>
                </a:solidFill>
              </a:rPr>
              <a:t>oder Fahrlagenvarianten stehen im Konflikt?)</a:t>
            </a:r>
          </a:p>
        </p:txBody>
      </p:sp>
      <p:sp>
        <p:nvSpPr>
          <p:cNvPr id="30" name="Abgerundetes Rechteck 29"/>
          <p:cNvSpPr/>
          <p:nvPr/>
        </p:nvSpPr>
        <p:spPr bwMode="auto">
          <a:xfrm>
            <a:off x="270099" y="3356992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Mikrokonflikt bestimmen (HLMUS)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32" name="Abgerundetes Rechteck 31"/>
          <p:cNvSpPr/>
          <p:nvPr/>
        </p:nvSpPr>
        <p:spPr bwMode="auto">
          <a:xfrm>
            <a:off x="270099" y="4509120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Konfliktzeitpunkt bestimme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33" name="Gerade Verbindung mit Pfeil 32"/>
          <p:cNvCxnSpPr>
            <a:stCxn id="30" idx="2"/>
            <a:endCxn id="32" idx="0"/>
          </p:cNvCxnSpPr>
          <p:nvPr/>
        </p:nvCxnSpPr>
        <p:spPr bwMode="auto">
          <a:xfrm>
            <a:off x="1674255" y="3796687"/>
            <a:ext cx="0" cy="71243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Gerade Verbindung mit Pfeil 35"/>
          <p:cNvCxnSpPr>
            <a:stCxn id="32" idx="2"/>
          </p:cNvCxnSpPr>
          <p:nvPr/>
        </p:nvCxnSpPr>
        <p:spPr bwMode="auto">
          <a:xfrm>
            <a:off x="1674255" y="4948815"/>
            <a:ext cx="0" cy="159557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9" name="ElementText1"/>
          <p:cNvSpPr txBox="1">
            <a:spLocks/>
          </p:cNvSpPr>
          <p:nvPr/>
        </p:nvSpPr>
        <p:spPr bwMode="gray">
          <a:xfrm>
            <a:off x="270099" y="3940704"/>
            <a:ext cx="2808312" cy="432048"/>
          </a:xfrm>
          <a:prstGeom prst="rect">
            <a:avLst/>
          </a:prstGeom>
          <a:solidFill>
            <a:srgbClr val="FFFFFF"/>
          </a:solidFill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300"/>
              </a:spcBef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Bestimmung, welche Systemtrassen und Halteplätze im Konflikt stehen</a:t>
            </a:r>
            <a:endParaRPr lang="de-DE" sz="1200" dirty="0">
              <a:solidFill>
                <a:srgbClr val="000000"/>
              </a:solidFill>
              <a:latin typeface="DB Office"/>
            </a:endParaRPr>
          </a:p>
        </p:txBody>
      </p:sp>
      <p:sp>
        <p:nvSpPr>
          <p:cNvPr id="40" name="ElementText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54475" y="3476625"/>
            <a:ext cx="309634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300"/>
              </a:spcBef>
            </a:pPr>
            <a:r>
              <a:rPr lang="de-DE" sz="1200" dirty="0" smtClean="0"/>
              <a:t>Systemtrasse s</a:t>
            </a:r>
            <a:r>
              <a:rPr lang="de-DE" sz="1200" baseline="-25000" dirty="0" smtClean="0"/>
              <a:t>1</a:t>
            </a:r>
            <a:r>
              <a:rPr lang="de-DE" sz="1200" dirty="0" smtClean="0"/>
              <a:t> ist Engpass</a:t>
            </a:r>
          </a:p>
        </p:txBody>
      </p:sp>
      <p:grpSp>
        <p:nvGrpSpPr>
          <p:cNvPr id="41" name="Gruppieren 40"/>
          <p:cNvGrpSpPr/>
          <p:nvPr/>
        </p:nvGrpSpPr>
        <p:grpSpPr>
          <a:xfrm>
            <a:off x="7254875" y="1804173"/>
            <a:ext cx="2147274" cy="2344907"/>
            <a:chOff x="7950308" y="1171328"/>
            <a:chExt cx="1419725" cy="1385525"/>
          </a:xfrm>
        </p:grpSpPr>
        <p:cxnSp>
          <p:nvCxnSpPr>
            <p:cNvPr id="42" name="Gerade Verbindung mit Pfeil 41"/>
            <p:cNvCxnSpPr/>
            <p:nvPr/>
          </p:nvCxnSpPr>
          <p:spPr bwMode="auto">
            <a:xfrm>
              <a:off x="8479109" y="1299096"/>
              <a:ext cx="0" cy="1130115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/>
          </p:nvCxnSpPr>
          <p:spPr bwMode="auto">
            <a:xfrm>
              <a:off x="8479109" y="1299096"/>
              <a:ext cx="469819" cy="513183"/>
            </a:xfrm>
            <a:prstGeom prst="line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mit Pfeil 43"/>
            <p:cNvCxnSpPr/>
            <p:nvPr/>
          </p:nvCxnSpPr>
          <p:spPr bwMode="auto">
            <a:xfrm flipH="1">
              <a:off x="8492221" y="1812279"/>
              <a:ext cx="456706" cy="616932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5" name="Textfeld 44"/>
            <p:cNvSpPr txBox="1"/>
            <p:nvPr/>
          </p:nvSpPr>
          <p:spPr>
            <a:xfrm>
              <a:off x="8132171" y="1171328"/>
              <a:ext cx="720100" cy="1091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Quelle (Q)</a:t>
              </a:r>
            </a:p>
          </p:txBody>
        </p:sp>
        <p:sp>
          <p:nvSpPr>
            <p:cNvPr id="46" name="Textfeld 45"/>
            <p:cNvSpPr txBox="1"/>
            <p:nvPr/>
          </p:nvSpPr>
          <p:spPr>
            <a:xfrm>
              <a:off x="8132171" y="2447740"/>
              <a:ext cx="720100" cy="1091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Senke (S)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7" name="Textfeld 46"/>
                <p:cNvSpPr txBox="1"/>
                <p:nvPr/>
              </p:nvSpPr>
              <p:spPr>
                <a:xfrm>
                  <a:off x="7950308" y="1714828"/>
                  <a:ext cx="560532" cy="21822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 Math"/>
                  </a:endParaRPr>
                </a:p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9A9A9A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9A9A9A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</m:t>
                            </m:r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9A9A9A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,</m:t>
                            </m:r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9A9A9A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</m:t>
                            </m:r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9A9A9A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,</m:t>
                            </m:r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9A9A9A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</m:t>
                            </m:r>
                          </m:e>
                        </m:d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61" name="Textfeld 6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50308" y="1714828"/>
                  <a:ext cx="560532" cy="218226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 b="-3279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8" name="Textfeld 47"/>
                <p:cNvSpPr txBox="1"/>
                <p:nvPr/>
              </p:nvSpPr>
              <p:spPr>
                <a:xfrm>
                  <a:off x="8853713" y="1720319"/>
                  <a:ext cx="516320" cy="21822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9A9A9A"/>
                      </a:solidFill>
                      <a:effectLst/>
                      <a:uLnTx/>
                      <a:uFillTx/>
                    </a:rPr>
                    <a:t>(1,1,0)</a:t>
                  </a:r>
                </a:p>
              </p:txBody>
            </p:sp>
          </mc:Choice>
          <mc:Fallback xmlns="">
            <p:sp>
              <p:nvSpPr>
                <p:cNvPr id="62" name="Textfeld 6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853713" y="1720319"/>
                  <a:ext cx="516320" cy="218226"/>
                </a:xfrm>
                <a:prstGeom prst="rect">
                  <a:avLst/>
                </a:prstGeom>
                <a:blipFill rotWithShape="1">
                  <a:blip r:embed="rId6"/>
                  <a:stretch>
                    <a:fillRect b="-2333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49" name="Gerade Verbindung mit Pfeil 48"/>
          <p:cNvCxnSpPr/>
          <p:nvPr/>
        </p:nvCxnSpPr>
        <p:spPr bwMode="auto">
          <a:xfrm>
            <a:off x="8003530" y="2020411"/>
            <a:ext cx="0" cy="1912643"/>
          </a:xfrm>
          <a:prstGeom prst="straightConnector1">
            <a:avLst/>
          </a:prstGeom>
          <a:solidFill>
            <a:srgbClr val="C8CDD2"/>
          </a:solidFill>
          <a:ln w="9525" cap="flat" cmpd="sng" algn="ctr">
            <a:solidFill>
              <a:srgbClr val="00006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0" name="Rechteck 49"/>
              <p:cNvSpPr/>
              <p:nvPr/>
            </p:nvSpPr>
            <p:spPr>
              <a:xfrm>
                <a:off x="6886677" y="1980186"/>
                <a:ext cx="792088" cy="47448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ar-AE" sz="1200" b="1" i="1" kern="0" smtClean="0">
                              <a:solidFill>
                                <a:srgbClr val="000066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kern="0">
                              <a:solidFill>
                                <a:srgbClr val="000066"/>
                              </a:solidFill>
                              <a:latin typeface="Cambria Math"/>
                            </a:rPr>
                            <m:t>𝒑</m:t>
                          </m:r>
                        </m:e>
                        <m:sub>
                          <m:r>
                            <a:rPr lang="ar-AE" sz="1200" b="1" i="1" kern="0">
                              <a:solidFill>
                                <a:srgbClr val="000066"/>
                              </a:solidFill>
                              <a:latin typeface="Cambria Math"/>
                            </a:rPr>
                            <m:t>𝟎</m:t>
                          </m:r>
                        </m:sub>
                        <m:sup>
                          <m:r>
                            <a:rPr lang="ar-AE" sz="1200" b="1" i="1" kern="0">
                              <a:solidFill>
                                <a:srgbClr val="000066"/>
                              </a:solidFill>
                              <a:latin typeface="Cambria Math"/>
                            </a:rPr>
                            <m:t>𝟏</m:t>
                          </m:r>
                        </m:sup>
                      </m:sSubSup>
                      <m:d>
                        <m:dPr>
                          <m:ctrlPr>
                            <a:rPr lang="de-DE" sz="1200" b="1" i="1" kern="0">
                              <a:solidFill>
                                <a:srgbClr val="000066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r>
                            <a:rPr lang="ar-AE" sz="1200" i="1" kern="0">
                              <a:solidFill>
                                <a:srgbClr val="000066"/>
                              </a:solidFill>
                              <a:latin typeface="Cambria Math"/>
                            </a:rPr>
                            <m:t>=</m:t>
                          </m:r>
                          <m:sSubSup>
                            <m:sSubSupPr>
                              <m:ctrlPr>
                                <a:rPr lang="ar-AE" sz="1200" i="1" kern="0">
                                  <a:solidFill>
                                    <a:srgbClr val="000066"/>
                                  </a:solidFill>
                                  <a:latin typeface="Cambria Math"/>
                                </a:rPr>
                              </m:ctrlPr>
                            </m:sSubSupPr>
                            <m:e>
                              <m:r>
                                <a:rPr lang="de-DE" sz="1200" i="1" kern="0">
                                  <a:solidFill>
                                    <a:srgbClr val="000066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ar-AE" sz="1200" i="1" kern="0">
                                  <a:solidFill>
                                    <a:srgbClr val="000066"/>
                                  </a:solidFill>
                                  <a:latin typeface="Cambria Math"/>
                                </a:rPr>
                                <m:t>0</m:t>
                              </m:r>
                            </m:sub>
                            <m:sup>
                              <m:r>
                                <a:rPr lang="ar-AE" sz="1200" i="1" kern="0">
                                  <a:solidFill>
                                    <a:srgbClr val="000066"/>
                                  </a:solidFill>
                                  <a:latin typeface="Cambria Math"/>
                                </a:rPr>
                                <m:t>1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r>
                  <a:rPr lang="de-DE" sz="1200" kern="0" dirty="0" smtClean="0">
                    <a:solidFill>
                      <a:srgbClr val="000000"/>
                    </a:solidFill>
                  </a:rPr>
                  <a:t/>
                </a:r>
                <a:br>
                  <a:rPr lang="de-DE" sz="1200" kern="0" dirty="0" smtClean="0">
                    <a:solidFill>
                      <a:srgbClr val="000000"/>
                    </a:solidFill>
                  </a:rPr>
                </a:br>
                <a:r>
                  <a:rPr lang="ar-AE" sz="1200" kern="0" dirty="0" smtClean="0">
                    <a:solidFill>
                      <a:srgbClr val="9A9A9A"/>
                    </a:solidFill>
                  </a:rPr>
                  <a:t>(1,1,0</a:t>
                </a:r>
                <a:r>
                  <a:rPr lang="de-DE" sz="1200" kern="0" dirty="0" smtClean="0">
                    <a:solidFill>
                      <a:srgbClr val="9A9A9A"/>
                    </a:solidFill>
                  </a:rPr>
                  <a:t>)</a:t>
                </a:r>
                <a:endParaRPr lang="de-DE" sz="1200" dirty="0">
                  <a:solidFill>
                    <a:srgbClr val="9A9A9A"/>
                  </a:solidFill>
                </a:endParaRPr>
              </a:p>
            </p:txBody>
          </p:sp>
        </mc:Choice>
        <mc:Fallback xmlns="">
          <p:sp>
            <p:nvSpPr>
              <p:cNvPr id="50" name="Rechteck 4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86677" y="1980186"/>
                <a:ext cx="792088" cy="474489"/>
              </a:xfrm>
              <a:prstGeom prst="rect">
                <a:avLst/>
              </a:prstGeom>
              <a:blipFill rotWithShape="1">
                <a:blip r:embed="rId7"/>
                <a:stretch>
                  <a:fillRect b="-769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1" name="Gerade Verbindung 50"/>
          <p:cNvCxnSpPr/>
          <p:nvPr/>
        </p:nvCxnSpPr>
        <p:spPr bwMode="auto">
          <a:xfrm>
            <a:off x="7520410" y="2290393"/>
            <a:ext cx="473595" cy="9257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2" name="Rechteck 51"/>
              <p:cNvSpPr/>
              <p:nvPr/>
            </p:nvSpPr>
            <p:spPr>
              <a:xfrm>
                <a:off x="8695035" y="1878915"/>
                <a:ext cx="792088" cy="47448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ar-AE" sz="1200" b="1" i="1" kern="0" smtClean="0">
                              <a:solidFill>
                                <a:schemeClr val="accent2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kern="0">
                              <a:solidFill>
                                <a:schemeClr val="accent2"/>
                              </a:solidFill>
                              <a:latin typeface="Cambria Math"/>
                            </a:rPr>
                            <m:t>𝒑</m:t>
                          </m:r>
                        </m:e>
                        <m:sub>
                          <m:r>
                            <a:rPr lang="ar-AE" sz="1200" b="1" i="1" kern="0">
                              <a:solidFill>
                                <a:schemeClr val="accent2"/>
                              </a:solidFill>
                              <a:latin typeface="Cambria Math"/>
                            </a:rPr>
                            <m:t>𝟎</m:t>
                          </m:r>
                        </m:sub>
                        <m:sup>
                          <m:r>
                            <a:rPr lang="de-DE" sz="1200" b="1" i="1" kern="0" smtClean="0">
                              <a:solidFill>
                                <a:schemeClr val="accent2"/>
                              </a:solidFill>
                              <a:latin typeface="Cambria Math"/>
                            </a:rPr>
                            <m:t>𝟐</m:t>
                          </m:r>
                        </m:sup>
                      </m:sSubSup>
                      <m:d>
                        <m:dPr>
                          <m:ctrlPr>
                            <a:rPr lang="de-DE" sz="1200" b="1" i="1" kern="0">
                              <a:solidFill>
                                <a:schemeClr val="accent2"/>
                              </a:solidFill>
                              <a:latin typeface="Cambria Math"/>
                            </a:rPr>
                          </m:ctrlPr>
                        </m:dPr>
                        <m:e>
                          <m:r>
                            <a:rPr lang="ar-AE" sz="1200" i="1" kern="0">
                              <a:solidFill>
                                <a:schemeClr val="accent2"/>
                              </a:solidFill>
                              <a:latin typeface="Cambria Math"/>
                            </a:rPr>
                            <m:t>=</m:t>
                          </m:r>
                          <m:sSubSup>
                            <m:sSubSupPr>
                              <m:ctrlPr>
                                <a:rPr lang="ar-AE" sz="1200" i="1" kern="0">
                                  <a:solidFill>
                                    <a:schemeClr val="accent2"/>
                                  </a:solidFill>
                                  <a:latin typeface="Cambria Math"/>
                                </a:rPr>
                              </m:ctrlPr>
                            </m:sSubSupPr>
                            <m:e>
                              <m:r>
                                <a:rPr lang="de-DE" sz="1200" i="1" kern="0">
                                  <a:solidFill>
                                    <a:schemeClr val="accent2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ar-AE" sz="1200" i="1" kern="0">
                                  <a:solidFill>
                                    <a:schemeClr val="accent2"/>
                                  </a:solidFill>
                                  <a:latin typeface="Cambria Math"/>
                                </a:rPr>
                                <m:t>0</m:t>
                              </m:r>
                            </m:sub>
                            <m:sup>
                              <m:r>
                                <a:rPr lang="de-DE" sz="1200" b="0" i="1" kern="0" smtClean="0">
                                  <a:solidFill>
                                    <a:schemeClr val="accent2"/>
                                  </a:solidFill>
                                  <a:latin typeface="Cambria Math"/>
                                </a:rPr>
                                <m:t>2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r>
                  <a:rPr lang="de-DE" sz="1200" kern="0" dirty="0" smtClean="0">
                    <a:solidFill>
                      <a:srgbClr val="000000"/>
                    </a:solidFill>
                  </a:rPr>
                  <a:t/>
                </a:r>
                <a:br>
                  <a:rPr lang="de-DE" sz="1200" kern="0" dirty="0" smtClean="0">
                    <a:solidFill>
                      <a:srgbClr val="000000"/>
                    </a:solidFill>
                  </a:rPr>
                </a:br>
                <a:r>
                  <a:rPr lang="ar-AE" sz="1200" kern="0" dirty="0" smtClean="0">
                    <a:solidFill>
                      <a:srgbClr val="9A9A9A"/>
                    </a:solidFill>
                  </a:rPr>
                  <a:t>(</a:t>
                </a:r>
                <a:r>
                  <a:rPr lang="de-DE" sz="1200" kern="0" dirty="0" smtClean="0">
                    <a:solidFill>
                      <a:srgbClr val="9A9A9A"/>
                    </a:solidFill>
                  </a:rPr>
                  <a:t>0</a:t>
                </a:r>
                <a:r>
                  <a:rPr lang="ar-AE" sz="1200" kern="0" dirty="0" smtClean="0">
                    <a:solidFill>
                      <a:srgbClr val="9A9A9A"/>
                    </a:solidFill>
                  </a:rPr>
                  <a:t>,1,</a:t>
                </a:r>
                <a:r>
                  <a:rPr lang="de-DE" sz="1200" kern="0" dirty="0" smtClean="0">
                    <a:solidFill>
                      <a:srgbClr val="9A9A9A"/>
                    </a:solidFill>
                  </a:rPr>
                  <a:t>1)</a:t>
                </a:r>
                <a:endParaRPr lang="de-DE" sz="1200" dirty="0">
                  <a:solidFill>
                    <a:srgbClr val="9A9A9A"/>
                  </a:solidFill>
                </a:endParaRPr>
              </a:p>
            </p:txBody>
          </p:sp>
        </mc:Choice>
        <mc:Fallback xmlns="">
          <p:sp>
            <p:nvSpPr>
              <p:cNvPr id="52" name="Rechteck 5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95035" y="1878915"/>
                <a:ext cx="792088" cy="474489"/>
              </a:xfrm>
              <a:prstGeom prst="rect">
                <a:avLst/>
              </a:prstGeom>
              <a:blipFill rotWithShape="1">
                <a:blip r:embed="rId8"/>
                <a:stretch>
                  <a:fillRect b="-769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3" name="Gerade Verbindung 52"/>
          <p:cNvCxnSpPr/>
          <p:nvPr/>
        </p:nvCxnSpPr>
        <p:spPr bwMode="auto">
          <a:xfrm flipV="1">
            <a:off x="8074495" y="2174594"/>
            <a:ext cx="690749" cy="11579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4" name="ElementText1"/>
          <p:cNvSpPr txBox="1">
            <a:spLocks/>
          </p:cNvSpPr>
          <p:nvPr/>
        </p:nvSpPr>
        <p:spPr bwMode="gray">
          <a:xfrm>
            <a:off x="270422" y="5047084"/>
            <a:ext cx="2808312" cy="1262236"/>
          </a:xfrm>
          <a:prstGeom prst="rect">
            <a:avLst/>
          </a:prstGeom>
          <a:solidFill>
            <a:srgbClr val="FFFFFF"/>
          </a:solidFill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300"/>
              </a:spcBef>
            </a:pPr>
            <a:r>
              <a:rPr lang="de-DE" sz="1200" dirty="0" smtClean="0"/>
              <a:t>Ermittle </a:t>
            </a:r>
            <a:r>
              <a:rPr lang="de-DE" sz="1200" dirty="0"/>
              <a:t>alle Tage, an denen mind. 2 </a:t>
            </a:r>
            <a:r>
              <a:rPr lang="de-DE" sz="1200" dirty="0" smtClean="0"/>
              <a:t>Fahrlagen auf einer Systemtrasse (bzw. auf einem Halteplatz) </a:t>
            </a:r>
            <a:r>
              <a:rPr lang="de-DE" sz="1200" dirty="0"/>
              <a:t>im Konflikt </a:t>
            </a:r>
            <a:r>
              <a:rPr lang="de-DE" sz="1200" dirty="0" smtClean="0"/>
              <a:t>stehen über Logikoperationen (Paarweiser Vergleich der Bit-Schlüssel aller Fahrlagenvarianten auf einer Systemtrasse</a:t>
            </a:r>
            <a:r>
              <a:rPr lang="de-DE" sz="1200" dirty="0" smtClean="0"/>
              <a:t>)</a:t>
            </a:r>
            <a:r>
              <a:rPr lang="de-DE" sz="1200" dirty="0">
                <a:latin typeface="DB Office"/>
              </a:rPr>
              <a:t/>
            </a:r>
            <a:br>
              <a:rPr lang="de-DE" sz="1200" dirty="0">
                <a:latin typeface="DB Office"/>
              </a:rPr>
            </a:br>
            <a:r>
              <a:rPr lang="de-DE" sz="1200" dirty="0" smtClean="0">
                <a:solidFill>
                  <a:srgbClr val="FF0000"/>
                </a:solidFill>
                <a:latin typeface="DB Office"/>
                <a:sym typeface="Wingdings" panose="05000000000000000000" pitchFamily="2" charset="2"/>
              </a:rPr>
              <a:t> Möglich?</a:t>
            </a:r>
            <a:endParaRPr lang="de-DE" sz="1200" dirty="0" smtClean="0">
              <a:solidFill>
                <a:srgbClr val="FF00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6" name="ElementText1"/>
              <p:cNvSpPr txBox="1">
                <a:spLocks/>
              </p:cNvSpPr>
              <p:nvPr>
                <p:custDataLst>
                  <p:tags r:id="rId3"/>
                </p:custDataLst>
              </p:nvPr>
            </p:nvSpPr>
            <p:spPr>
              <a:xfrm>
                <a:off x="3654475" y="4619228"/>
                <a:ext cx="5436604" cy="24133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vert="horz" lIns="0" tIns="0" rIns="0" bIns="0" rtlCol="0">
                <a:noAutofit/>
              </a:bodyPr>
              <a:lstStyle>
                <a:defPPr>
                  <a:defRPr lang="de-DE"/>
                </a:defPPr>
                <a:lvl1pPr indent="0">
                  <a:spcBef>
                    <a:spcPct val="20000"/>
                  </a:spcBef>
                  <a:buClr>
                    <a:srgbClr val="FF0000"/>
                  </a:buClr>
                  <a:buSzPct val="85000"/>
                  <a:buFont typeface="Wingdings" pitchFamily="2" charset="2"/>
                  <a:buNone/>
                  <a:defRPr sz="1400" b="0">
                    <a:solidFill>
                      <a:srgbClr val="000000"/>
                    </a:solidFill>
                    <a:latin typeface="DB Office"/>
                  </a:defRPr>
                </a:lvl1pPr>
                <a:lvl2pPr marL="177800" lvl="1" indent="-177800">
                  <a:spcBef>
                    <a:spcPts val="600"/>
                  </a:spcBef>
                  <a:buClr>
                    <a:srgbClr val="FF0000"/>
                  </a:buClr>
                  <a:buSzPct val="85000"/>
                  <a:buFont typeface="Wingdings" pitchFamily="2" charset="2"/>
                  <a:buChar char="n"/>
                  <a:defRPr sz="1400">
                    <a:solidFill>
                      <a:srgbClr val="000000"/>
                    </a:solidFill>
                    <a:latin typeface="DB Office"/>
                  </a:defRPr>
                </a:lvl2pPr>
                <a:lvl3pPr marL="355600" lvl="2" indent="-177800">
                  <a:spcBef>
                    <a:spcPts val="300"/>
                  </a:spcBef>
                  <a:buClr>
                    <a:srgbClr val="FF0000"/>
                  </a:buClr>
                  <a:buFont typeface="Symbol" pitchFamily="18" charset="2"/>
                  <a:buChar char="-"/>
                  <a:tabLst/>
                  <a:defRPr sz="1400" baseline="0">
                    <a:solidFill>
                      <a:srgbClr val="000000"/>
                    </a:solidFill>
                    <a:latin typeface="DB Office"/>
                  </a:defRPr>
                </a:lvl3pPr>
                <a:lvl4pPr marL="533400" lvl="3" indent="-177800">
                  <a:spcBef>
                    <a:spcPts val="300"/>
                  </a:spcBef>
                  <a:buClr>
                    <a:srgbClr val="FF0000"/>
                  </a:buClr>
                  <a:buSzPct val="100000"/>
                  <a:buFont typeface="Wingdings" pitchFamily="2" charset="2"/>
                  <a:buChar char="§"/>
                  <a:defRPr sz="1400">
                    <a:solidFill>
                      <a:srgbClr val="000000"/>
                    </a:solidFill>
                    <a:latin typeface="DB Office"/>
                  </a:defRPr>
                </a:lvl4pPr>
                <a:lvl5pPr marL="723900" indent="-190500">
                  <a:spcBef>
                    <a:spcPts val="300"/>
                  </a:spcBef>
                  <a:buClr>
                    <a:srgbClr val="FF0000"/>
                  </a:buClr>
                  <a:buSzPct val="100000"/>
                  <a:buFont typeface="Wingdings" pitchFamily="2" charset="2"/>
                  <a:buChar char=""/>
                  <a:defRPr sz="1400" baseline="0">
                    <a:latin typeface="DB Office" pitchFamily="34" charset="0"/>
                  </a:defRPr>
                </a:lvl5pPr>
                <a:lvl6pPr marL="901700" indent="-177800">
                  <a:spcBef>
                    <a:spcPct val="20000"/>
                  </a:spcBef>
                  <a:buClr>
                    <a:srgbClr val="FF0000"/>
                  </a:buClr>
                  <a:buFont typeface="Wingdings" pitchFamily="2" charset="2"/>
                  <a:buChar char="§"/>
                  <a:defRPr sz="1400">
                    <a:latin typeface="DB Office" pitchFamily="34" charset="0"/>
                  </a:defRPr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lvl="1">
                  <a:spcBef>
                    <a:spcPts val="300"/>
                  </a:spcBef>
                </a:pPr>
                <a:r>
                  <a:rPr lang="de-DE" sz="1200" dirty="0" smtClean="0">
                    <a:solidFill>
                      <a:schemeClr val="tx1"/>
                    </a:solidFill>
                  </a:rPr>
                  <a:t>Untersuche Systemtrasse </a:t>
                </a:r>
                <a:r>
                  <a:rPr lang="de-DE" sz="1200" dirty="0"/>
                  <a:t>s</a:t>
                </a:r>
                <a:r>
                  <a:rPr lang="de-DE" sz="1200" baseline="-25000" dirty="0"/>
                  <a:t>1</a:t>
                </a:r>
                <a:r>
                  <a:rPr lang="de-DE" sz="1200" dirty="0"/>
                  <a:t> </a:t>
                </a:r>
                <a:r>
                  <a:rPr lang="de-DE" sz="1200" dirty="0" smtClean="0"/>
                  <a:t>(einziger Engpass)</a:t>
                </a:r>
                <a:endParaRPr lang="de-DE" sz="1200" dirty="0" smtClean="0">
                  <a:solidFill>
                    <a:schemeClr val="tx1"/>
                  </a:solidFill>
                </a:endParaRPr>
              </a:p>
              <a:p>
                <a:pPr lvl="1">
                  <a:spcBef>
                    <a:spcPts val="300"/>
                  </a:spcBef>
                </a:pPr>
                <a:r>
                  <a:rPr lang="de-DE" sz="1200" dirty="0" smtClean="0">
                    <a:solidFill>
                      <a:schemeClr val="tx1"/>
                    </a:solidFill>
                  </a:rPr>
                  <a:t>Paarweiser Vergleich aller Fahrlagenvarianten (aktuell nur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2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2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ar-AE" sz="12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chemeClr val="tx1"/>
                    </a:solidFill>
                  </a:rPr>
                  <a:t> u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2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2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chemeClr val="tx1"/>
                    </a:solidFill>
                  </a:rPr>
                  <a:t>), die s</a:t>
                </a:r>
                <a:r>
                  <a:rPr lang="de-DE" sz="1200" baseline="-25000" dirty="0" smtClean="0">
                    <a:solidFill>
                      <a:schemeClr val="tx1"/>
                    </a:solidFill>
                  </a:rPr>
                  <a:t>1 </a:t>
                </a:r>
                <a:r>
                  <a:rPr lang="de-DE" sz="1200" dirty="0" smtClean="0">
                    <a:solidFill>
                      <a:schemeClr val="tx1"/>
                    </a:solidFill>
                  </a:rPr>
                  <a:t>nutzen ergibt: Konflikt nur bei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20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b="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200" b="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ar-AE" sz="1200" b="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chemeClr val="tx1"/>
                    </a:solidFill>
                  </a:rPr>
                  <a:t> </a:t>
                </a:r>
                <a:r>
                  <a:rPr lang="de-DE" sz="1200" dirty="0">
                    <a:solidFill>
                      <a:schemeClr val="tx1"/>
                    </a:solidFill>
                  </a:rPr>
                  <a:t>(1,1,0) 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20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b="0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200" b="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  <m:r>
                      <a:rPr lang="de-DE" sz="1200" b="0" i="1" kern="0">
                        <a:solidFill>
                          <a:schemeClr val="tx1"/>
                        </a:solidFill>
                        <a:latin typeface="Cambria Math"/>
                      </a:rPr>
                      <m:t> </m:t>
                    </m:r>
                  </m:oMath>
                </a14:m>
                <a:r>
                  <a:rPr lang="de-DE" sz="1200" dirty="0" smtClean="0">
                    <a:solidFill>
                      <a:schemeClr val="tx1"/>
                    </a:solidFill>
                  </a:rPr>
                  <a:t> (</a:t>
                </a:r>
                <a:r>
                  <a:rPr lang="de-DE" sz="1200" dirty="0">
                    <a:solidFill>
                      <a:schemeClr val="tx1"/>
                    </a:solidFill>
                  </a:rPr>
                  <a:t>0,1,1) = (0,1,0) </a:t>
                </a:r>
                <a:r>
                  <a:rPr lang="de-DE" sz="1200" dirty="0" smtClean="0">
                    <a:solidFill>
                      <a:schemeClr val="tx1"/>
                    </a:solidFill>
                    <a:sym typeface="Wingdings" panose="05000000000000000000" pitchFamily="2" charset="2"/>
                  </a:rPr>
                  <a:t> </a:t>
                </a:r>
                <a:r>
                  <a:rPr lang="de-DE" sz="1200" dirty="0" smtClean="0">
                    <a:solidFill>
                      <a:schemeClr val="tx1"/>
                    </a:solidFill>
                  </a:rPr>
                  <a:t>Tag 2 konfliktbehaftet</a:t>
                </a:r>
              </a:p>
              <a:p>
                <a:pPr lvl="1">
                  <a:spcBef>
                    <a:spcPts val="300"/>
                  </a:spcBef>
                </a:pPr>
                <a:r>
                  <a:rPr lang="de-DE" sz="1200" dirty="0" smtClean="0">
                    <a:solidFill>
                      <a:srgbClr val="FF0000"/>
                    </a:solidFill>
                  </a:rPr>
                  <a:t>Muss in diesem Schritt der HLMUS-Algorithmus nochmals ausgeführt werden? (Annahme: nein)</a:t>
                </a:r>
              </a:p>
            </p:txBody>
          </p:sp>
        </mc:Choice>
        <mc:Fallback xmlns="">
          <p:sp>
            <p:nvSpPr>
              <p:cNvPr id="56" name="ElementText1"/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9"/>
                </p:custDataLst>
              </p:nvPr>
            </p:nvSpPr>
            <p:spPr>
              <a:xfrm>
                <a:off x="3654475" y="4619228"/>
                <a:ext cx="5436604" cy="241336"/>
              </a:xfrm>
              <a:prstGeom prst="rect">
                <a:avLst/>
              </a:prstGeom>
              <a:blipFill rotWithShape="1">
                <a:blip r:embed="rId10"/>
                <a:stretch>
                  <a:fillRect l="-1233" t="-23077" b="-433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73229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blauf SAT-Modell in der ganzjährigen Belegung (6/X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Patrick Breun, Jordis Wächter | Dresden | 19.12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70099" y="2701273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Aufteilen der </a:t>
            </a:r>
            <a:r>
              <a:rPr lang="de-DE" sz="1200" dirty="0" err="1" smtClean="0">
                <a:latin typeface="DB Office" pitchFamily="34" charset="0"/>
              </a:rPr>
              <a:t>konfliktären</a:t>
            </a:r>
            <a:r>
              <a:rPr lang="de-DE" sz="1200" dirty="0" smtClean="0">
                <a:latin typeface="DB Office" pitchFamily="34" charset="0"/>
              </a:rPr>
              <a:t> System-trassen auf </a:t>
            </a:r>
            <a:r>
              <a:rPr lang="de-DE" sz="1200" dirty="0" err="1" smtClean="0">
                <a:latin typeface="DB Office" pitchFamily="34" charset="0"/>
              </a:rPr>
              <a:t>konfliktäre</a:t>
            </a:r>
            <a:r>
              <a:rPr lang="de-DE" sz="1200" dirty="0" smtClean="0">
                <a:latin typeface="DB Office" pitchFamily="34" charset="0"/>
              </a:rPr>
              <a:t> Fahrlage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15" name="Gerade Verbindung mit Pfeil 14"/>
          <p:cNvCxnSpPr>
            <a:stCxn id="22" idx="2"/>
          </p:cNvCxnSpPr>
          <p:nvPr/>
        </p:nvCxnSpPr>
        <p:spPr bwMode="auto">
          <a:xfrm>
            <a:off x="1674255" y="4725144"/>
            <a:ext cx="0" cy="165618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mit Pfeil 20"/>
          <p:cNvCxnSpPr>
            <a:stCxn id="10" idx="2"/>
            <a:endCxn id="12" idx="0"/>
          </p:cNvCxnSpPr>
          <p:nvPr/>
        </p:nvCxnSpPr>
        <p:spPr bwMode="auto">
          <a:xfrm>
            <a:off x="1674255" y="2348880"/>
            <a:ext cx="0" cy="35239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Raute 9"/>
          <p:cNvSpPr/>
          <p:nvPr/>
        </p:nvSpPr>
        <p:spPr bwMode="auto">
          <a:xfrm>
            <a:off x="270099" y="1844824"/>
            <a:ext cx="2808312" cy="504056"/>
          </a:xfrm>
          <a:prstGeom prst="diamond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Konfliktären Zeitpunkt gefunden?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16" name="Gerade Verbindung mit Pfeil 15"/>
          <p:cNvCxnSpPr>
            <a:endCxn id="10" idx="0"/>
          </p:cNvCxnSpPr>
          <p:nvPr/>
        </p:nvCxnSpPr>
        <p:spPr bwMode="auto">
          <a:xfrm>
            <a:off x="1674255" y="1556792"/>
            <a:ext cx="0" cy="28803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Textfeld 18"/>
          <p:cNvSpPr txBox="1"/>
          <p:nvPr/>
        </p:nvSpPr>
        <p:spPr>
          <a:xfrm>
            <a:off x="1707692" y="2417354"/>
            <a:ext cx="28854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nein</a:t>
            </a:r>
          </a:p>
        </p:txBody>
      </p:sp>
      <p:sp>
        <p:nvSpPr>
          <p:cNvPr id="22" name="Abgerundetes Rechteck 21"/>
          <p:cNvSpPr/>
          <p:nvPr/>
        </p:nvSpPr>
        <p:spPr bwMode="auto">
          <a:xfrm>
            <a:off x="270099" y="4285449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Systemtrassen und Halteplätze zum </a:t>
            </a:r>
            <a:r>
              <a:rPr lang="de-DE" sz="1200" dirty="0" err="1" smtClean="0">
                <a:latin typeface="DB Office" pitchFamily="34" charset="0"/>
              </a:rPr>
              <a:t>konfliktären</a:t>
            </a:r>
            <a:r>
              <a:rPr lang="de-DE" sz="1200" dirty="0" smtClean="0">
                <a:latin typeface="DB Office" pitchFamily="34" charset="0"/>
              </a:rPr>
              <a:t> Zeitpunkt sperre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23" name="Gewinkelte Verbindung 22"/>
          <p:cNvCxnSpPr>
            <a:stCxn id="10" idx="3"/>
            <a:endCxn id="22" idx="3"/>
          </p:cNvCxnSpPr>
          <p:nvPr/>
        </p:nvCxnSpPr>
        <p:spPr bwMode="auto">
          <a:xfrm>
            <a:off x="3078411" y="2096852"/>
            <a:ext cx="12700" cy="2408445"/>
          </a:xfrm>
          <a:prstGeom prst="bentConnector3">
            <a:avLst>
              <a:gd name="adj1" fmla="val 1575000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Textfeld 25"/>
          <p:cNvSpPr txBox="1"/>
          <p:nvPr/>
        </p:nvSpPr>
        <p:spPr>
          <a:xfrm>
            <a:off x="3103805" y="2432743"/>
            <a:ext cx="11862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ja</a:t>
            </a:r>
          </a:p>
        </p:txBody>
      </p:sp>
      <p:cxnSp>
        <p:nvCxnSpPr>
          <p:cNvPr id="28" name="Gerade Verbindung mit Pfeil 27"/>
          <p:cNvCxnSpPr>
            <a:stCxn id="12" idx="2"/>
            <a:endCxn id="31" idx="0"/>
          </p:cNvCxnSpPr>
          <p:nvPr/>
        </p:nvCxnSpPr>
        <p:spPr bwMode="auto">
          <a:xfrm>
            <a:off x="1674255" y="3140968"/>
            <a:ext cx="0" cy="14401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Abgerundetes Rechteck 30"/>
          <p:cNvSpPr/>
          <p:nvPr/>
        </p:nvSpPr>
        <p:spPr bwMode="auto">
          <a:xfrm>
            <a:off x="774155" y="3284984"/>
            <a:ext cx="1800200" cy="288032"/>
          </a:xfrm>
          <a:prstGeom prst="roundRect">
            <a:avLst>
              <a:gd name="adj" fmla="val 50000"/>
            </a:avLst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Nächster</a:t>
            </a:r>
            <a:r>
              <a:rPr kumimoji="0" lang="de-DE" sz="1200" b="0" i="0" u="none" strike="noStrike" cap="none" normalizeH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 Makrokonflikt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37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654475" y="1988840"/>
            <a:ext cx="309634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300"/>
              </a:spcBef>
            </a:pPr>
            <a:r>
              <a:rPr lang="de-DE" sz="1200" dirty="0" smtClean="0"/>
              <a:t>Ja, Tag 2 auf s</a:t>
            </a:r>
            <a:r>
              <a:rPr lang="de-DE" sz="1200" baseline="-25000" dirty="0" smtClean="0"/>
              <a:t>1</a:t>
            </a:r>
            <a:r>
              <a:rPr lang="de-DE" sz="1200" dirty="0" smtClean="0"/>
              <a:t> ist Engpas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8" name="ElementText1"/>
              <p:cNvSpPr txBox="1">
                <a:spLocks/>
              </p:cNvSpPr>
              <p:nvPr>
                <p:custDataLst>
                  <p:tags r:id="rId2"/>
                </p:custDataLst>
              </p:nvPr>
            </p:nvSpPr>
            <p:spPr>
              <a:xfrm>
                <a:off x="3654475" y="2539592"/>
                <a:ext cx="5760640" cy="24133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vert="horz" lIns="0" tIns="0" rIns="0" bIns="0" rtlCol="0">
                <a:noAutofit/>
              </a:bodyPr>
              <a:lstStyle>
                <a:defPPr>
                  <a:defRPr lang="de-DE"/>
                </a:defPPr>
                <a:lvl1pPr indent="0">
                  <a:spcBef>
                    <a:spcPct val="20000"/>
                  </a:spcBef>
                  <a:buClr>
                    <a:srgbClr val="FF0000"/>
                  </a:buClr>
                  <a:buSzPct val="85000"/>
                  <a:buFont typeface="Wingdings" pitchFamily="2" charset="2"/>
                  <a:buNone/>
                  <a:defRPr sz="1400" b="0">
                    <a:solidFill>
                      <a:srgbClr val="000000"/>
                    </a:solidFill>
                    <a:latin typeface="DB Office"/>
                  </a:defRPr>
                </a:lvl1pPr>
                <a:lvl2pPr marL="177800" lvl="1" indent="-177800">
                  <a:spcBef>
                    <a:spcPts val="600"/>
                  </a:spcBef>
                  <a:buClr>
                    <a:srgbClr val="FF0000"/>
                  </a:buClr>
                  <a:buSzPct val="85000"/>
                  <a:buFont typeface="Wingdings" pitchFamily="2" charset="2"/>
                  <a:buChar char="n"/>
                  <a:defRPr sz="1400">
                    <a:solidFill>
                      <a:srgbClr val="000000"/>
                    </a:solidFill>
                    <a:latin typeface="DB Office"/>
                  </a:defRPr>
                </a:lvl2pPr>
                <a:lvl3pPr marL="355600" lvl="2" indent="-177800">
                  <a:spcBef>
                    <a:spcPts val="300"/>
                  </a:spcBef>
                  <a:buClr>
                    <a:srgbClr val="FF0000"/>
                  </a:buClr>
                  <a:buFont typeface="Symbol" pitchFamily="18" charset="2"/>
                  <a:buChar char="-"/>
                  <a:tabLst/>
                  <a:defRPr sz="1400" baseline="0">
                    <a:solidFill>
                      <a:srgbClr val="000000"/>
                    </a:solidFill>
                    <a:latin typeface="DB Office"/>
                  </a:defRPr>
                </a:lvl3pPr>
                <a:lvl4pPr marL="533400" lvl="3" indent="-177800">
                  <a:spcBef>
                    <a:spcPts val="300"/>
                  </a:spcBef>
                  <a:buClr>
                    <a:srgbClr val="FF0000"/>
                  </a:buClr>
                  <a:buSzPct val="100000"/>
                  <a:buFont typeface="Wingdings" pitchFamily="2" charset="2"/>
                  <a:buChar char="§"/>
                  <a:defRPr sz="1400">
                    <a:solidFill>
                      <a:srgbClr val="000000"/>
                    </a:solidFill>
                    <a:latin typeface="DB Office"/>
                  </a:defRPr>
                </a:lvl4pPr>
                <a:lvl5pPr marL="723900" indent="-190500">
                  <a:spcBef>
                    <a:spcPts val="300"/>
                  </a:spcBef>
                  <a:buClr>
                    <a:srgbClr val="FF0000"/>
                  </a:buClr>
                  <a:buSzPct val="100000"/>
                  <a:buFont typeface="Wingdings" pitchFamily="2" charset="2"/>
                  <a:buChar char=""/>
                  <a:defRPr sz="1400" baseline="0">
                    <a:latin typeface="DB Office" pitchFamily="34" charset="0"/>
                  </a:defRPr>
                </a:lvl5pPr>
                <a:lvl6pPr marL="901700" indent="-177800">
                  <a:spcBef>
                    <a:spcPct val="20000"/>
                  </a:spcBef>
                  <a:buClr>
                    <a:srgbClr val="FF0000"/>
                  </a:buClr>
                  <a:buFont typeface="Wingdings" pitchFamily="2" charset="2"/>
                  <a:buChar char="§"/>
                  <a:defRPr sz="1400">
                    <a:latin typeface="DB Office" pitchFamily="34" charset="0"/>
                  </a:defRPr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marL="0" lvl="1" indent="0">
                  <a:spcBef>
                    <a:spcPts val="300"/>
                  </a:spcBef>
                  <a:buNone/>
                </a:pPr>
                <a:r>
                  <a:rPr lang="de-DE" sz="1200" u="sng" kern="0" dirty="0" smtClean="0">
                    <a:solidFill>
                      <a:srgbClr val="646973"/>
                    </a:solidFill>
                  </a:rPr>
                  <a:t>Exkurs</a:t>
                </a:r>
              </a:p>
              <a:p>
                <a:pPr lvl="1">
                  <a:spcBef>
                    <a:spcPts val="300"/>
                  </a:spcBef>
                </a:pPr>
                <a:r>
                  <a:rPr lang="de-DE" sz="1200" kern="0" dirty="0" smtClean="0">
                    <a:solidFill>
                      <a:srgbClr val="646973"/>
                    </a:solidFill>
                  </a:rPr>
                  <a:t>Würden die </a:t>
                </a:r>
                <a:r>
                  <a:rPr lang="de-DE" sz="1200" kern="0" dirty="0" smtClean="0">
                    <a:solidFill>
                      <a:srgbClr val="646973"/>
                    </a:solidFill>
                  </a:rPr>
                  <a:t>Bit-Schlüssel </a:t>
                </a:r>
                <a:r>
                  <a:rPr lang="de-DE" sz="1200" kern="0" dirty="0" smtClean="0">
                    <a:solidFill>
                      <a:srgbClr val="646973"/>
                    </a:solidFill>
                  </a:rPr>
                  <a:t>folgendermaßen aussehen: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200" i="1" kern="0">
                            <a:solidFill>
                              <a:srgbClr val="646973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b="0" i="1" kern="0" smtClean="0">
                            <a:solidFill>
                              <a:srgbClr val="646973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200" i="1" kern="0">
                            <a:solidFill>
                              <a:srgbClr val="646973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ar-AE" sz="1200" i="1" kern="0">
                            <a:solidFill>
                              <a:srgbClr val="646973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>
                    <a:solidFill>
                      <a:srgbClr val="646973"/>
                    </a:solidFill>
                  </a:rPr>
                  <a:t> (</a:t>
                </a:r>
                <a:r>
                  <a:rPr lang="de-DE" sz="1200" dirty="0" smtClean="0">
                    <a:solidFill>
                      <a:srgbClr val="646973"/>
                    </a:solidFill>
                  </a:rPr>
                  <a:t>1,0,0</a:t>
                </a:r>
                <a:r>
                  <a:rPr lang="de-DE" sz="1200" dirty="0">
                    <a:solidFill>
                      <a:srgbClr val="646973"/>
                    </a:solidFill>
                  </a:rPr>
                  <a:t>) 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200" i="1" kern="0">
                            <a:solidFill>
                              <a:srgbClr val="646973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b="0" i="1" kern="0" smtClean="0">
                            <a:solidFill>
                              <a:srgbClr val="646973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200" i="1" kern="0">
                            <a:solidFill>
                              <a:srgbClr val="646973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646973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  <m:r>
                      <a:rPr lang="de-DE" sz="1200" i="1" kern="0">
                        <a:solidFill>
                          <a:srgbClr val="646973"/>
                        </a:solidFill>
                        <a:latin typeface="Cambria Math"/>
                      </a:rPr>
                      <m:t> </m:t>
                    </m:r>
                  </m:oMath>
                </a14:m>
                <a:r>
                  <a:rPr lang="de-DE" sz="1200" dirty="0">
                    <a:solidFill>
                      <a:srgbClr val="646973"/>
                    </a:solidFill>
                  </a:rPr>
                  <a:t> (0,1,1) = (</a:t>
                </a:r>
                <a:r>
                  <a:rPr lang="de-DE" sz="1200" dirty="0" smtClean="0">
                    <a:solidFill>
                      <a:srgbClr val="646973"/>
                    </a:solidFill>
                  </a:rPr>
                  <a:t>0,0,0), würde kein zeitlicher Konflikt vorliegen </a:t>
                </a:r>
              </a:p>
              <a:p>
                <a:pPr lvl="1">
                  <a:spcBef>
                    <a:spcPts val="300"/>
                  </a:spcBef>
                </a:pPr>
                <a:r>
                  <a:rPr lang="de-DE" sz="1200" dirty="0" smtClean="0">
                    <a:solidFill>
                      <a:srgbClr val="646973"/>
                    </a:solidFill>
                  </a:rPr>
                  <a:t>Aufteilen der Systemtrasse analog Fahrlagen in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  <m:t>′</m:t>
                        </m:r>
                      </m:sup>
                    </m:sSubSup>
                    <m:r>
                      <a:rPr lang="de-DE" sz="1200">
                        <a:solidFill>
                          <a:srgbClr val="646973"/>
                        </a:solidFill>
                        <a:latin typeface="Cambria Math"/>
                      </a:rPr>
                      <m:t>(</m:t>
                    </m:r>
                    <m:r>
                      <a:rPr lang="de-DE" sz="1200">
                        <a:solidFill>
                          <a:srgbClr val="646973"/>
                        </a:solidFill>
                        <a:latin typeface="Cambria Math"/>
                      </a:rPr>
                      <m:t>1</m:t>
                    </m:r>
                    <m:r>
                      <a:rPr lang="de-DE" sz="1200">
                        <a:solidFill>
                          <a:srgbClr val="646973"/>
                        </a:solidFill>
                        <a:latin typeface="Cambria Math"/>
                      </a:rPr>
                      <m:t>,</m:t>
                    </m:r>
                    <m:r>
                      <a:rPr lang="de-DE" sz="1200">
                        <a:solidFill>
                          <a:srgbClr val="646973"/>
                        </a:solidFill>
                        <a:latin typeface="Cambria Math"/>
                      </a:rPr>
                      <m:t>0</m:t>
                    </m:r>
                    <m:r>
                      <a:rPr lang="de-DE" sz="1200">
                        <a:solidFill>
                          <a:srgbClr val="646973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smtClean="0">
                        <a:solidFill>
                          <a:srgbClr val="646973"/>
                        </a:solidFill>
                        <a:latin typeface="Cambria Math"/>
                      </a:rPr>
                      <m:t>0</m:t>
                    </m:r>
                    <m:r>
                      <a:rPr lang="de-DE" sz="1200">
                        <a:solidFill>
                          <a:srgbClr val="646973"/>
                        </a:solidFill>
                        <a:latin typeface="Cambria Math"/>
                      </a:rPr>
                      <m:t>)</m:t>
                    </m:r>
                  </m:oMath>
                </a14:m>
                <a:r>
                  <a:rPr lang="de-DE" sz="1200" dirty="0">
                    <a:solidFill>
                      <a:srgbClr val="646973"/>
                    </a:solidFill>
                  </a:rPr>
                  <a:t> u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  <m:t>′′</m:t>
                        </m:r>
                      </m:sup>
                    </m:sSubSup>
                    <m:d>
                      <m:dPr>
                        <m:ctrlP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</m:ctrlPr>
                      </m:dPr>
                      <m:e>
                        <m: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  <m:t>0</m:t>
                        </m:r>
                        <m: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  <m:t>,</m:t>
                        </m:r>
                        <m: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  <m:t>1</m:t>
                        </m:r>
                        <m: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  <m:t>,</m:t>
                        </m:r>
                        <m:r>
                          <a:rPr lang="de-DE" sz="1200" b="0" i="1" smtClean="0">
                            <a:solidFill>
                              <a:srgbClr val="646973"/>
                            </a:solidFill>
                            <a:latin typeface="Cambria Math"/>
                          </a:rPr>
                          <m:t>1</m:t>
                        </m:r>
                      </m:e>
                    </m:d>
                  </m:oMath>
                </a14:m>
                <a:r>
                  <a:rPr lang="de-DE" sz="1200" dirty="0" smtClean="0">
                    <a:solidFill>
                      <a:srgbClr val="646973"/>
                    </a:solidFill>
                  </a:rPr>
                  <a:t> und über Logikoperationen sicherstellen, dass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  <m:t>′</m:t>
                        </m:r>
                      </m:sup>
                    </m:sSubSup>
                    <m:r>
                      <a:rPr lang="de-DE" sz="1200" b="0" i="0" smtClean="0">
                        <a:solidFill>
                          <a:srgbClr val="646973"/>
                        </a:solidFill>
                        <a:latin typeface="Cambria Math"/>
                      </a:rPr>
                      <m:t> </m:t>
                    </m:r>
                  </m:oMath>
                </a14:m>
                <a:r>
                  <a:rPr lang="de-DE" sz="1200" dirty="0" smtClean="0">
                    <a:solidFill>
                      <a:srgbClr val="646973"/>
                    </a:solidFill>
                  </a:rPr>
                  <a:t>/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  <m:t>′</m:t>
                        </m:r>
                        <m:r>
                          <a:rPr lang="de-DE" sz="1200" b="0" i="1" smtClean="0">
                            <a:solidFill>
                              <a:srgbClr val="646973"/>
                            </a:solidFill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646973"/>
                    </a:solidFill>
                  </a:rPr>
                  <a:t> und s</a:t>
                </a:r>
                <a:r>
                  <a:rPr lang="de-DE" sz="1200" baseline="-25000" dirty="0" smtClean="0">
                    <a:solidFill>
                      <a:srgbClr val="646973"/>
                    </a:solidFill>
                  </a:rPr>
                  <a:t>1</a:t>
                </a:r>
                <a:r>
                  <a:rPr lang="de-DE" sz="1200" dirty="0" smtClean="0">
                    <a:solidFill>
                      <a:srgbClr val="646973"/>
                    </a:solidFill>
                  </a:rPr>
                  <a:t> nicht gleichzeitig aktiv </a:t>
                </a:r>
                <a:r>
                  <a:rPr lang="de-DE" sz="1200" dirty="0" smtClean="0">
                    <a:solidFill>
                      <a:srgbClr val="646973"/>
                    </a:solidFill>
                  </a:rPr>
                  <a:t>sind (</a:t>
                </a:r>
                <a:r>
                  <a:rPr lang="de-DE" sz="1200" dirty="0" smtClean="0">
                    <a:solidFill>
                      <a:srgbClr val="646973"/>
                    </a:solidFill>
                  </a:rPr>
                  <a:t>oder </a:t>
                </a:r>
                <a:r>
                  <a:rPr lang="de-DE" sz="1200" dirty="0">
                    <a:solidFill>
                      <a:srgbClr val="646973"/>
                    </a:solidFill>
                  </a:rPr>
                  <a:t>s</a:t>
                </a:r>
                <a:r>
                  <a:rPr lang="de-DE" sz="1200" baseline="-25000" dirty="0">
                    <a:solidFill>
                      <a:srgbClr val="646973"/>
                    </a:solidFill>
                  </a:rPr>
                  <a:t>1 </a:t>
                </a:r>
                <a:r>
                  <a:rPr lang="de-DE" sz="1200" baseline="-25000" dirty="0" smtClean="0">
                    <a:solidFill>
                      <a:srgbClr val="646973"/>
                    </a:solidFill>
                  </a:rPr>
                  <a:t> </a:t>
                </a:r>
                <a:r>
                  <a:rPr lang="de-DE" sz="1200" dirty="0" smtClean="0">
                    <a:solidFill>
                      <a:srgbClr val="646973"/>
                    </a:solidFill>
                  </a:rPr>
                  <a:t>durch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  <m:t>′</m:t>
                        </m:r>
                      </m:sup>
                    </m:sSubSup>
                    <m:r>
                      <a:rPr lang="de-DE" sz="1200">
                        <a:solidFill>
                          <a:srgbClr val="646973"/>
                        </a:solidFill>
                        <a:latin typeface="Cambria Math"/>
                      </a:rPr>
                      <m:t> </m:t>
                    </m:r>
                  </m:oMath>
                </a14:m>
                <a:r>
                  <a:rPr lang="de-DE" sz="1200" dirty="0">
                    <a:solidFill>
                      <a:srgbClr val="646973"/>
                    </a:solidFill>
                  </a:rPr>
                  <a:t>/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  <m:t>′</m:t>
                        </m:r>
                        <m:r>
                          <a:rPr lang="de-DE" sz="1200" i="1">
                            <a:solidFill>
                              <a:srgbClr val="646973"/>
                            </a:solidFill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646973"/>
                    </a:solidFill>
                  </a:rPr>
                  <a:t> ersetzen)   </a:t>
                </a:r>
                <a:endParaRPr lang="de-DE" sz="1200" dirty="0" smtClean="0">
                  <a:solidFill>
                    <a:srgbClr val="646973"/>
                  </a:solidFill>
                </a:endParaRPr>
              </a:p>
              <a:p>
                <a:pPr lvl="1">
                  <a:spcBef>
                    <a:spcPts val="300"/>
                  </a:spcBef>
                </a:pPr>
                <a:r>
                  <a:rPr lang="de-DE" sz="1200" dirty="0" smtClean="0">
                    <a:solidFill>
                      <a:srgbClr val="646973"/>
                    </a:solidFill>
                  </a:rPr>
                  <a:t>Kein Sperren von Systemtrassen / keine Wegesuche notwendig </a:t>
                </a:r>
              </a:p>
            </p:txBody>
          </p:sp>
        </mc:Choice>
        <mc:Fallback>
          <p:sp>
            <p:nvSpPr>
              <p:cNvPr id="38" name="ElementText1"/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2"/>
                </p:custDataLst>
              </p:nvPr>
            </p:nvSpPr>
            <p:spPr>
              <a:xfrm>
                <a:off x="3654475" y="2539592"/>
                <a:ext cx="5760640" cy="241336"/>
              </a:xfrm>
              <a:prstGeom prst="rect">
                <a:avLst/>
              </a:prstGeom>
              <a:blipFill rotWithShape="1">
                <a:blip r:embed="rId5"/>
                <a:stretch>
                  <a:fillRect l="-1587" t="-23077" r="-635" b="-52564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Runde Klammer links 23"/>
          <p:cNvSpPr/>
          <p:nvPr/>
        </p:nvSpPr>
        <p:spPr bwMode="auto">
          <a:xfrm>
            <a:off x="3508475" y="2509687"/>
            <a:ext cx="288032" cy="1495377"/>
          </a:xfrm>
          <a:prstGeom prst="leftBracket">
            <a:avLst>
              <a:gd name="adj" fmla="val 61244"/>
            </a:avLst>
          </a:prstGeom>
          <a:noFill/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Runde Klammer rechts 24"/>
          <p:cNvSpPr/>
          <p:nvPr/>
        </p:nvSpPr>
        <p:spPr bwMode="auto">
          <a:xfrm>
            <a:off x="9302566" y="2509687"/>
            <a:ext cx="225098" cy="1495377"/>
          </a:xfrm>
          <a:prstGeom prst="rightBracket">
            <a:avLst>
              <a:gd name="adj" fmla="val 83691"/>
            </a:avLst>
          </a:prstGeom>
          <a:noFill/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ElementText1"/>
          <p:cNvSpPr txBox="1">
            <a:spLocks/>
          </p:cNvSpPr>
          <p:nvPr/>
        </p:nvSpPr>
        <p:spPr bwMode="gray">
          <a:xfrm>
            <a:off x="270099" y="4797152"/>
            <a:ext cx="2808312" cy="576064"/>
          </a:xfrm>
          <a:prstGeom prst="rect">
            <a:avLst/>
          </a:prstGeom>
          <a:solidFill>
            <a:srgbClr val="FFFFFF"/>
          </a:solidFill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300"/>
              </a:spcBef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Aufteilen der Systemtrassen in gesperrte und nicht gesperrte Zeiträume</a:t>
            </a:r>
            <a:endParaRPr lang="de-DE" sz="1200" dirty="0">
              <a:solidFill>
                <a:srgbClr val="000000"/>
              </a:solidFill>
              <a:latin typeface="DB Office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ElementText1"/>
              <p:cNvSpPr txBox="1">
                <a:spLocks/>
              </p:cNvSpPr>
              <p:nvPr>
                <p:custDataLst>
                  <p:tags r:id="rId3"/>
                </p:custDataLst>
              </p:nvPr>
            </p:nvSpPr>
            <p:spPr>
              <a:xfrm>
                <a:off x="3654475" y="4339792"/>
                <a:ext cx="5760640" cy="24133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vert="horz" lIns="0" tIns="0" rIns="0" bIns="0" rtlCol="0">
                <a:noAutofit/>
              </a:bodyPr>
              <a:lstStyle>
                <a:defPPr>
                  <a:defRPr lang="de-DE"/>
                </a:defPPr>
                <a:lvl1pPr indent="0">
                  <a:spcBef>
                    <a:spcPct val="20000"/>
                  </a:spcBef>
                  <a:buClr>
                    <a:srgbClr val="FF0000"/>
                  </a:buClr>
                  <a:buSzPct val="85000"/>
                  <a:buFont typeface="Wingdings" pitchFamily="2" charset="2"/>
                  <a:buNone/>
                  <a:defRPr sz="1400" b="0">
                    <a:solidFill>
                      <a:srgbClr val="000000"/>
                    </a:solidFill>
                    <a:latin typeface="DB Office"/>
                  </a:defRPr>
                </a:lvl1pPr>
                <a:lvl2pPr marL="177800" lvl="1" indent="-177800">
                  <a:spcBef>
                    <a:spcPts val="600"/>
                  </a:spcBef>
                  <a:buClr>
                    <a:srgbClr val="FF0000"/>
                  </a:buClr>
                  <a:buSzPct val="85000"/>
                  <a:buFont typeface="Wingdings" pitchFamily="2" charset="2"/>
                  <a:buChar char="n"/>
                  <a:defRPr sz="1400">
                    <a:solidFill>
                      <a:srgbClr val="000000"/>
                    </a:solidFill>
                    <a:latin typeface="DB Office"/>
                  </a:defRPr>
                </a:lvl2pPr>
                <a:lvl3pPr marL="355600" lvl="2" indent="-177800">
                  <a:spcBef>
                    <a:spcPts val="300"/>
                  </a:spcBef>
                  <a:buClr>
                    <a:srgbClr val="FF0000"/>
                  </a:buClr>
                  <a:buFont typeface="Symbol" pitchFamily="18" charset="2"/>
                  <a:buChar char="-"/>
                  <a:tabLst/>
                  <a:defRPr sz="1400" baseline="0">
                    <a:solidFill>
                      <a:srgbClr val="000000"/>
                    </a:solidFill>
                    <a:latin typeface="DB Office"/>
                  </a:defRPr>
                </a:lvl3pPr>
                <a:lvl4pPr marL="533400" lvl="3" indent="-177800">
                  <a:spcBef>
                    <a:spcPts val="300"/>
                  </a:spcBef>
                  <a:buClr>
                    <a:srgbClr val="FF0000"/>
                  </a:buClr>
                  <a:buSzPct val="100000"/>
                  <a:buFont typeface="Wingdings" pitchFamily="2" charset="2"/>
                  <a:buChar char="§"/>
                  <a:defRPr sz="1400">
                    <a:solidFill>
                      <a:srgbClr val="000000"/>
                    </a:solidFill>
                    <a:latin typeface="DB Office"/>
                  </a:defRPr>
                </a:lvl4pPr>
                <a:lvl5pPr marL="723900" indent="-190500">
                  <a:spcBef>
                    <a:spcPts val="300"/>
                  </a:spcBef>
                  <a:buClr>
                    <a:srgbClr val="FF0000"/>
                  </a:buClr>
                  <a:buSzPct val="100000"/>
                  <a:buFont typeface="Wingdings" pitchFamily="2" charset="2"/>
                  <a:buChar char=""/>
                  <a:defRPr sz="1400" baseline="0">
                    <a:latin typeface="DB Office" pitchFamily="34" charset="0"/>
                  </a:defRPr>
                </a:lvl5pPr>
                <a:lvl6pPr marL="901700" indent="-177800">
                  <a:spcBef>
                    <a:spcPct val="20000"/>
                  </a:spcBef>
                  <a:buClr>
                    <a:srgbClr val="FF0000"/>
                  </a:buClr>
                  <a:buFont typeface="Wingdings" pitchFamily="2" charset="2"/>
                  <a:buChar char="§"/>
                  <a:defRPr sz="1400">
                    <a:latin typeface="DB Office" pitchFamily="34" charset="0"/>
                  </a:defRPr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lvl="1">
                  <a:spcBef>
                    <a:spcPts val="300"/>
                  </a:spcBef>
                </a:pPr>
                <a:r>
                  <a:rPr lang="de-DE" sz="1200" dirty="0" smtClean="0"/>
                  <a:t>Aufteilen der Systemtrasse in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i="1">
                            <a:latin typeface="Cambria Math"/>
                          </a:rPr>
                          <m:t>′</m:t>
                        </m:r>
                      </m:sup>
                    </m:sSubSup>
                    <m:r>
                      <a:rPr lang="de-DE" sz="1200">
                        <a:latin typeface="Cambria Math"/>
                      </a:rPr>
                      <m:t>(</m:t>
                    </m:r>
                    <m:r>
                      <a:rPr lang="de-DE" sz="1200">
                        <a:latin typeface="Cambria Math"/>
                      </a:rPr>
                      <m:t>1</m:t>
                    </m:r>
                    <m:r>
                      <a:rPr lang="de-DE" sz="1200">
                        <a:latin typeface="Cambria Math"/>
                      </a:rPr>
                      <m:t>,</m:t>
                    </m:r>
                    <m:r>
                      <a:rPr lang="de-DE" sz="1200">
                        <a:latin typeface="Cambria Math"/>
                      </a:rPr>
                      <m:t>0</m:t>
                    </m:r>
                    <m:r>
                      <a:rPr lang="de-DE" sz="1200">
                        <a:latin typeface="Cambria Math"/>
                      </a:rPr>
                      <m:t>,</m:t>
                    </m:r>
                    <m:r>
                      <a:rPr lang="de-DE" sz="1200">
                        <a:latin typeface="Cambria Math"/>
                      </a:rPr>
                      <m:t>1</m:t>
                    </m:r>
                    <m:r>
                      <a:rPr lang="de-DE" sz="1200">
                        <a:latin typeface="Cambria Math"/>
                      </a:rPr>
                      <m:t>)</m:t>
                    </m:r>
                  </m:oMath>
                </a14:m>
                <a:r>
                  <a:rPr lang="de-DE" sz="1200" dirty="0"/>
                  <a:t> </a:t>
                </a:r>
                <a:r>
                  <a:rPr lang="de-DE" sz="1200" dirty="0" smtClean="0"/>
                  <a:t>(nicht gesperrter Zeitraum) u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i="1">
                            <a:latin typeface="Cambria Math"/>
                          </a:rPr>
                          <m:t>′′</m:t>
                        </m:r>
                      </m:sup>
                    </m:sSubSup>
                    <m:d>
                      <m:dPr>
                        <m:ctrlPr>
                          <a:rPr lang="de-DE" sz="1200" i="1">
                            <a:latin typeface="Cambria Math"/>
                          </a:rPr>
                        </m:ctrlPr>
                      </m:dPr>
                      <m:e>
                        <m:r>
                          <a:rPr lang="de-DE" sz="1200" i="1">
                            <a:latin typeface="Cambria Math"/>
                          </a:rPr>
                          <m:t>0</m:t>
                        </m:r>
                        <m:r>
                          <a:rPr lang="de-DE" sz="1200" i="1">
                            <a:latin typeface="Cambria Math"/>
                          </a:rPr>
                          <m:t>,</m:t>
                        </m:r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  <m:r>
                          <a:rPr lang="de-DE" sz="1200" i="1">
                            <a:latin typeface="Cambria Math"/>
                          </a:rPr>
                          <m:t>,</m:t>
                        </m:r>
                        <m:r>
                          <a:rPr lang="de-DE" sz="1200" i="1">
                            <a:latin typeface="Cambria Math"/>
                          </a:rPr>
                          <m:t>0</m:t>
                        </m:r>
                      </m:e>
                    </m:d>
                  </m:oMath>
                </a14:m>
                <a:r>
                  <a:rPr lang="de-DE" sz="1200" dirty="0" smtClean="0"/>
                  <a:t> (gesperrter Zeitraum)</a:t>
                </a:r>
              </a:p>
            </p:txBody>
          </p:sp>
        </mc:Choice>
        <mc:Fallback xmlns="">
          <p:sp>
            <p:nvSpPr>
              <p:cNvPr id="29" name="ElementText1"/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6"/>
                </p:custDataLst>
              </p:nvPr>
            </p:nvSpPr>
            <p:spPr>
              <a:xfrm>
                <a:off x="3654475" y="4339792"/>
                <a:ext cx="5760640" cy="241336"/>
              </a:xfrm>
              <a:prstGeom prst="rect">
                <a:avLst/>
              </a:prstGeom>
              <a:blipFill rotWithShape="1">
                <a:blip r:embed="rId7"/>
                <a:stretch>
                  <a:fillRect l="-1164" t="-23077" b="-897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73229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blauf SAT-Modell in der ganzjährigen Belegung (7/X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Patrick Breun, Jordis Wächter | Dresden | 19.12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70099" y="1981193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Wegesuche erneut durchführe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15" name="Gerade Verbindung mit Pfeil 14"/>
          <p:cNvCxnSpPr>
            <a:stCxn id="12" idx="2"/>
          </p:cNvCxnSpPr>
          <p:nvPr/>
        </p:nvCxnSpPr>
        <p:spPr bwMode="auto">
          <a:xfrm>
            <a:off x="1674255" y="2420888"/>
            <a:ext cx="0" cy="396044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mit Pfeil 20"/>
          <p:cNvCxnSpPr>
            <a:endCxn id="12" idx="0"/>
          </p:cNvCxnSpPr>
          <p:nvPr/>
        </p:nvCxnSpPr>
        <p:spPr bwMode="auto">
          <a:xfrm>
            <a:off x="1674255" y="1628800"/>
            <a:ext cx="0" cy="35239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hteck 12"/>
              <p:cNvSpPr/>
              <p:nvPr/>
            </p:nvSpPr>
            <p:spPr bwMode="auto">
              <a:xfrm>
                <a:off x="3654475" y="1556792"/>
                <a:ext cx="2871286" cy="792088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sng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Notation:</a:t>
                </a:r>
              </a:p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𝑝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𝑙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𝑟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Partitionierung</a:t>
                </a:r>
                <a:r>
                  <a:rPr lang="de-DE" sz="1200" i="1" kern="0" dirty="0">
                    <a:solidFill>
                      <a:srgbClr val="000000"/>
                    </a:solidFill>
                    <a:latin typeface="DB Office"/>
                  </a:rPr>
                  <a:t> 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l 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der </a:t>
                </a:r>
                <a:r>
                  <a: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Fahrlage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r</a:t>
                </a:r>
              </a:p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𝑛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𝑟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Fahrlagenvariante 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n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der </a:t>
                </a:r>
                <a:r>
                  <a: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Fahrlage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r</a:t>
                </a:r>
              </a:p>
            </p:txBody>
          </p:sp>
        </mc:Choice>
        <mc:Fallback xmlns="">
          <p:sp>
            <p:nvSpPr>
              <p:cNvPr id="13" name="Rechteck 1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654475" y="1556792"/>
                <a:ext cx="2871286" cy="792088"/>
              </a:xfrm>
              <a:prstGeom prst="rect">
                <a:avLst/>
              </a:prstGeom>
              <a:blipFill rotWithShape="1">
                <a:blip r:embed="rId2"/>
                <a:stretch>
                  <a:fillRect l="-423"/>
                </a:stretch>
              </a:blip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Inhaltsplatzhalter 5"/>
              <p:cNvSpPr txBox="1">
                <a:spLocks/>
              </p:cNvSpPr>
              <p:nvPr/>
            </p:nvSpPr>
            <p:spPr bwMode="auto">
              <a:xfrm>
                <a:off x="3654475" y="2492896"/>
                <a:ext cx="2889354" cy="393709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lang="de-DE" sz="1600" dirty="0" smtClean="0">
                    <a:solidFill>
                      <a:schemeClr val="tx1"/>
                    </a:solidFill>
                    <a:latin typeface="DB Office" panose="020B0604020202020204" pitchFamily="34" charset="0"/>
                    <a:ea typeface="+mn-ea"/>
                    <a:cs typeface="+mn-cs"/>
                  </a:defRPr>
                </a:lvl1pPr>
                <a:lvl2pPr marL="180000" indent="-1800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SzPct val="85000"/>
                  <a:buFont typeface="Wingdings" pitchFamily="2" charset="2"/>
                  <a:buChar char="n"/>
                  <a:defRPr lang="de-DE" sz="1600" dirty="0" smtClean="0">
                    <a:solidFill>
                      <a:schemeClr val="tx1"/>
                    </a:solidFill>
                    <a:latin typeface="DB Office" panose="020B0604020202020204" pitchFamily="34" charset="0"/>
                  </a:defRPr>
                </a:lvl2pPr>
                <a:lvl3pPr marL="358775" indent="-1800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Char char="–"/>
                  <a:defRPr lang="de-DE" sz="1600" dirty="0" smtClean="0">
                    <a:solidFill>
                      <a:schemeClr val="tx1"/>
                    </a:solidFill>
                    <a:latin typeface="DB Office" panose="020B0604020202020204" pitchFamily="34" charset="0"/>
                  </a:defRPr>
                </a:lvl3pPr>
                <a:lvl4pPr marL="540000" indent="-1800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Font typeface="Wingdings" pitchFamily="2" charset="2"/>
                  <a:buChar char="§"/>
                  <a:defRPr lang="de-DE" sz="1600" dirty="0" smtClean="0">
                    <a:solidFill>
                      <a:schemeClr val="tx1"/>
                    </a:solidFill>
                    <a:latin typeface="DB Office" panose="020B0604020202020204" pitchFamily="34" charset="0"/>
                  </a:defRPr>
                </a:lvl4pPr>
                <a:lvl5pPr marL="720000" indent="-1800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Char char="–"/>
                  <a:defRPr lang="de-DE" sz="1600" dirty="0">
                    <a:solidFill>
                      <a:schemeClr val="tx1"/>
                    </a:solidFill>
                    <a:latin typeface="DB Office" panose="020B0604020202020204" pitchFamily="34" charset="0"/>
                  </a:defRPr>
                </a:lvl5pPr>
                <a:lvl6pPr marL="1185863" indent="-182563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1643063" indent="-182563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2100263" indent="-182563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2557463" indent="-182563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>
                  <a:defRPr/>
                </a:pPr>
                <a:r>
                  <a:rPr kumimoji="0" lang="de-DE" sz="1200" b="0" i="0" u="sng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Fahrlage </a:t>
                </a:r>
                <a:r>
                  <a:rPr lang="de-DE" sz="1200" u="sng" kern="0" dirty="0" smtClean="0">
                    <a:solidFill>
                      <a:srgbClr val="000000"/>
                    </a:solidFill>
                  </a:rPr>
                  <a:t>r</a:t>
                </a:r>
                <a:r>
                  <a:rPr lang="de-DE" sz="1200" u="sng" kern="0" baseline="-25000" dirty="0" smtClean="0">
                    <a:solidFill>
                      <a:srgbClr val="000000"/>
                    </a:solidFill>
                  </a:rPr>
                  <a:t>1</a:t>
                </a:r>
                <a:r>
                  <a:rPr kumimoji="0" lang="de-DE" sz="1200" b="0" i="0" u="sng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: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kumimoji="0" lang="ar-AE" sz="1200" b="1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1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𝒑</m:t>
                        </m:r>
                      </m:e>
                      <m:sub>
                        <m:r>
                          <a:rPr kumimoji="0" lang="ar-AE" sz="1200" b="1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𝟎</m:t>
                        </m:r>
                      </m:sub>
                      <m:sup>
                        <m:r>
                          <a:rPr kumimoji="0" lang="ar-AE" sz="1200" b="1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𝟏</m:t>
                        </m:r>
                      </m:sup>
                    </m:sSubSup>
                    <m:r>
                      <a:rPr kumimoji="0" lang="de-DE" sz="12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(</m:t>
                    </m:r>
                    <m:r>
                      <a:rPr kumimoji="0" lang="ar-AE" sz="12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=</m:t>
                    </m:r>
                    <m:sSubSup>
                      <m:sSubSupPr>
                        <m:ctrlPr>
                          <a:rPr kumimoji="0" lang="ar-A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ar-A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0</m:t>
                        </m:r>
                      </m:sub>
                      <m:sup>
                        <m:r>
                          <a:rPr kumimoji="0" lang="ar-A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1</m:t>
                        </m:r>
                      </m:sup>
                    </m:sSubSup>
                    <m:r>
                      <a:rPr kumimoji="0" lang="de-DE" sz="12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)</m:t>
                    </m:r>
                  </m:oMath>
                </a14:m>
                <a:endParaRPr kumimoji="0" lang="ar-A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ar-A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 (1,1,0)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r>
                      <a:rPr kumimoji="0" lang="ar-AE" sz="1200" b="1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 </m:t>
                    </m:r>
                    <m:sSubSup>
                      <m:sSubSupPr>
                        <m:ctrlPr>
                          <a:rPr kumimoji="0" lang="ar-AE" sz="1200" b="1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1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𝒑</m:t>
                        </m:r>
                      </m:e>
                      <m:sub>
                        <m:r>
                          <a:rPr kumimoji="0" lang="ar-AE" sz="1200" b="1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𝟏</m:t>
                        </m:r>
                      </m:sub>
                      <m:sup>
                        <m:r>
                          <a:rPr kumimoji="0" lang="ar-AE" sz="1200" b="1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𝟏</m:t>
                        </m:r>
                      </m:sup>
                    </m:sSubSup>
                  </m:oMath>
                </a14:m>
                <a:r>
                  <a:rPr kumimoji="0" lang="ar-AE" sz="12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: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r>
                      <a:rPr kumimoji="0" lang="ar-AE" sz="12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 </m:t>
                    </m:r>
                    <m:sSubSup>
                      <m:sSubSupPr>
                        <m:ctrlPr>
                          <a:rPr kumimoji="0" lang="ar-A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ar-A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1</m:t>
                        </m:r>
                      </m:sub>
                      <m:sup>
                        <m:r>
                          <a:rPr kumimoji="0" lang="ar-A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1</m:t>
                        </m:r>
                      </m:sup>
                    </m:sSubSup>
                  </m:oMath>
                </a14:m>
                <a:r>
                  <a:rPr kumimoji="0" lang="ar-A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ar-A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(1,0,0)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ar-A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ar-A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2</m:t>
                        </m:r>
                      </m:sub>
                      <m:sup>
                        <m:r>
                          <a:rPr kumimoji="0" lang="ar-A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1</m:t>
                        </m:r>
                      </m:sup>
                    </m:sSubSup>
                  </m:oMath>
                </a14:m>
                <a:r>
                  <a:rPr kumimoji="0" lang="ar-A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  <a:endParaRPr kumimoji="0" lang="ar-A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ar-A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(0,1,0)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  <a:sym typeface="Wingdings" panose="05000000000000000000" pitchFamily="2" charset="2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  <a:sym typeface="Wingdings" panose="05000000000000000000" pitchFamily="2" charset="2"/>
                </a:endParaRPr>
              </a:p>
              <a:p>
                <a:pPr marL="285750" lvl="0" indent="-285750">
                  <a:buFont typeface="Wingdings"/>
                  <a:buChar char="à"/>
                </a:pP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  <a:sym typeface="Wingdings" panose="05000000000000000000" pitchFamily="2" charset="2"/>
                  </a:rPr>
                  <a:t>Neuen Weg für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ar-A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  <a:sym typeface="Wingdings" panose="05000000000000000000" pitchFamily="2" charset="2"/>
                  </a:rPr>
                  <a:t> u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ar-A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ar-AE" sz="1200" kern="0" dirty="0">
                    <a:solidFill>
                      <a:srgbClr val="000000"/>
                    </a:solidFill>
                  </a:rPr>
                  <a:t> 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  <a:sym typeface="Wingdings" panose="05000000000000000000" pitchFamily="2" charset="2"/>
                  </a:rPr>
                  <a:t>gefunden</a:t>
                </a:r>
                <a:endParaRPr lang="de-DE" sz="1200" kern="0" dirty="0">
                  <a:solidFill>
                    <a:srgbClr val="000000"/>
                  </a:solidFill>
                  <a:sym typeface="Wingdings" panose="05000000000000000000" pitchFamily="2" charset="2"/>
                </a:endParaRPr>
              </a:p>
              <a:p>
                <a:pPr marL="285750" lvl="0" indent="-285750">
                  <a:buFont typeface="Wingdings"/>
                  <a:buChar char="à"/>
                </a:pPr>
                <a:r>
                  <a:rPr kumimoji="0" lang="de-DE" sz="1200" b="0" i="0" u="none" strike="noStrike" kern="0" cap="none" spc="0" normalizeH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  <a:sym typeface="Wingdings" panose="05000000000000000000" pitchFamily="2" charset="2"/>
                  </a:rPr>
                  <a:t>Entscheidung notwendig, welcher Weg / welche Partition mit aufgenommen wird</a:t>
                </a:r>
                <a:endPara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4" name="Inhaltsplatzhalter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654475" y="2492896"/>
                <a:ext cx="2889354" cy="3937093"/>
              </a:xfrm>
              <a:prstGeom prst="rect">
                <a:avLst/>
              </a:prstGeom>
              <a:blipFill rotWithShape="1">
                <a:blip r:embed="rId3"/>
                <a:stretch>
                  <a:fillRect l="-3376" t="-1393" b="-5263"/>
                </a:stretch>
              </a:blipFill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Flussdiagramm: Verbindungsstelle 15"/>
          <p:cNvSpPr/>
          <p:nvPr/>
        </p:nvSpPr>
        <p:spPr bwMode="auto">
          <a:xfrm>
            <a:off x="4518571" y="3108014"/>
            <a:ext cx="360000" cy="360000"/>
          </a:xfrm>
          <a:prstGeom prst="flowChartConnector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rPr>
              <a:t>Q</a:t>
            </a:r>
          </a:p>
        </p:txBody>
      </p:sp>
      <p:sp>
        <p:nvSpPr>
          <p:cNvPr id="17" name="Flussdiagramm: Verbindungsstelle 16"/>
          <p:cNvSpPr/>
          <p:nvPr/>
        </p:nvSpPr>
        <p:spPr bwMode="auto">
          <a:xfrm>
            <a:off x="5958731" y="3108014"/>
            <a:ext cx="360000" cy="360000"/>
          </a:xfrm>
          <a:prstGeom prst="flowChartConnector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rPr>
              <a:t>S</a:t>
            </a:r>
          </a:p>
        </p:txBody>
      </p:sp>
      <p:cxnSp>
        <p:nvCxnSpPr>
          <p:cNvPr id="18" name="Gerade Verbindung mit Pfeil 17"/>
          <p:cNvCxnSpPr>
            <a:stCxn id="16" idx="6"/>
            <a:endCxn id="17" idx="2"/>
          </p:cNvCxnSpPr>
          <p:nvPr/>
        </p:nvCxnSpPr>
        <p:spPr bwMode="auto">
          <a:xfrm>
            <a:off x="4878571" y="3288014"/>
            <a:ext cx="1080160" cy="0"/>
          </a:xfrm>
          <a:prstGeom prst="straightConnector1">
            <a:avLst/>
          </a:prstGeom>
          <a:solidFill>
            <a:srgbClr val="C8CDD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Gekrümmte Verbindung 18"/>
          <p:cNvCxnSpPr>
            <a:stCxn id="16" idx="0"/>
            <a:endCxn id="17" idx="0"/>
          </p:cNvCxnSpPr>
          <p:nvPr/>
        </p:nvCxnSpPr>
        <p:spPr bwMode="auto">
          <a:xfrm rot="5400000" flipH="1" flipV="1">
            <a:off x="5418651" y="2387934"/>
            <a:ext cx="12700" cy="1440160"/>
          </a:xfrm>
          <a:prstGeom prst="curvedConnector3">
            <a:avLst>
              <a:gd name="adj1" fmla="val 1800000"/>
            </a:avLst>
          </a:prstGeom>
          <a:solidFill>
            <a:srgbClr val="C8CDD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feld 19"/>
              <p:cNvSpPr txBox="1"/>
              <p:nvPr/>
            </p:nvSpPr>
            <p:spPr>
              <a:xfrm>
                <a:off x="5166643" y="3069914"/>
                <a:ext cx="628970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 (1,0,1)</a:t>
                </a:r>
              </a:p>
            </p:txBody>
          </p:sp>
        </mc:Choice>
        <mc:Fallback xmlns="">
          <p:sp>
            <p:nvSpPr>
              <p:cNvPr id="20" name="Textfeld 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66643" y="3069914"/>
                <a:ext cx="628970" cy="184666"/>
              </a:xfrm>
              <a:prstGeom prst="rect">
                <a:avLst/>
              </a:prstGeom>
              <a:blipFill rotWithShape="1">
                <a:blip r:embed="rId4"/>
                <a:stretch>
                  <a:fillRect l="-6796" t="-30000" r="-10680" b="-466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feld 21"/>
              <p:cNvSpPr txBox="1"/>
              <p:nvPr/>
            </p:nvSpPr>
            <p:spPr>
              <a:xfrm>
                <a:off x="5166644" y="2636912"/>
                <a:ext cx="628970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2</m:t>
                        </m:r>
                      </m:sub>
                    </m:sSub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(1,1,0)</a:t>
                </a:r>
                <a:endParaRPr kumimoji="0" lang="de-DE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22" name="Textfeld 2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66644" y="2636912"/>
                <a:ext cx="628970" cy="184666"/>
              </a:xfrm>
              <a:prstGeom prst="rect">
                <a:avLst/>
              </a:prstGeom>
              <a:blipFill rotWithShape="1">
                <a:blip r:embed="rId5"/>
                <a:stretch>
                  <a:fillRect l="-6796" t="-30000" r="-4854" b="-466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Flussdiagramm: Verbindungsstelle 22"/>
          <p:cNvSpPr/>
          <p:nvPr/>
        </p:nvSpPr>
        <p:spPr bwMode="auto">
          <a:xfrm>
            <a:off x="4512442" y="4368090"/>
            <a:ext cx="360000" cy="360000"/>
          </a:xfrm>
          <a:prstGeom prst="flowChartConnector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rPr>
              <a:t>Q</a:t>
            </a:r>
          </a:p>
        </p:txBody>
      </p:sp>
      <p:sp>
        <p:nvSpPr>
          <p:cNvPr id="24" name="Flussdiagramm: Verbindungsstelle 23"/>
          <p:cNvSpPr/>
          <p:nvPr/>
        </p:nvSpPr>
        <p:spPr bwMode="auto">
          <a:xfrm>
            <a:off x="6030779" y="4368090"/>
            <a:ext cx="360000" cy="360000"/>
          </a:xfrm>
          <a:prstGeom prst="flowChartConnector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rPr>
              <a:t>S</a:t>
            </a:r>
          </a:p>
        </p:txBody>
      </p:sp>
      <p:cxnSp>
        <p:nvCxnSpPr>
          <p:cNvPr id="25" name="Gerade Verbindung mit Pfeil 24"/>
          <p:cNvCxnSpPr>
            <a:stCxn id="23" idx="6"/>
            <a:endCxn id="24" idx="2"/>
          </p:cNvCxnSpPr>
          <p:nvPr/>
        </p:nvCxnSpPr>
        <p:spPr bwMode="auto">
          <a:xfrm>
            <a:off x="4872442" y="4548090"/>
            <a:ext cx="1158337" cy="0"/>
          </a:xfrm>
          <a:prstGeom prst="straightConnector1">
            <a:avLst/>
          </a:prstGeom>
          <a:solidFill>
            <a:srgbClr val="C8CDD2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Gekrümmte Verbindung 25"/>
          <p:cNvCxnSpPr>
            <a:stCxn id="23" idx="0"/>
            <a:endCxn id="24" idx="0"/>
          </p:cNvCxnSpPr>
          <p:nvPr/>
        </p:nvCxnSpPr>
        <p:spPr bwMode="auto">
          <a:xfrm rot="5400000" flipH="1" flipV="1">
            <a:off x="5451610" y="3608922"/>
            <a:ext cx="12700" cy="1518337"/>
          </a:xfrm>
          <a:prstGeom prst="curvedConnector3">
            <a:avLst>
              <a:gd name="adj1" fmla="val 1800000"/>
            </a:avLst>
          </a:prstGeom>
          <a:solidFill>
            <a:srgbClr val="C8CDD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feld 26"/>
              <p:cNvSpPr txBox="1"/>
              <p:nvPr/>
            </p:nvSpPr>
            <p:spPr>
              <a:xfrm>
                <a:off x="5184672" y="4324454"/>
                <a:ext cx="628970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 (1,0,1)</a:t>
                </a:r>
              </a:p>
            </p:txBody>
          </p:sp>
        </mc:Choice>
        <mc:Fallback xmlns="">
          <p:sp>
            <p:nvSpPr>
              <p:cNvPr id="27" name="Textfeld 2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84672" y="4324454"/>
                <a:ext cx="628970" cy="184666"/>
              </a:xfrm>
              <a:prstGeom prst="rect">
                <a:avLst/>
              </a:prstGeom>
              <a:blipFill rotWithShape="1">
                <a:blip r:embed="rId6"/>
                <a:stretch>
                  <a:fillRect l="-6796" t="-25806" r="-10680" b="-4516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feld 27"/>
              <p:cNvSpPr txBox="1"/>
              <p:nvPr/>
            </p:nvSpPr>
            <p:spPr>
              <a:xfrm>
                <a:off x="5184671" y="3933056"/>
                <a:ext cx="683816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2</m:t>
                        </m:r>
                      </m:sub>
                    </m:sSub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(1,1,0)</a:t>
                </a:r>
                <a:endParaRPr kumimoji="0" lang="de-DE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28" name="Textfeld 2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84671" y="3933056"/>
                <a:ext cx="683816" cy="184666"/>
              </a:xfrm>
              <a:prstGeom prst="rect">
                <a:avLst/>
              </a:prstGeom>
              <a:blipFill rotWithShape="1">
                <a:blip r:embed="rId7"/>
                <a:stretch>
                  <a:fillRect l="-6250" t="-26667" b="-50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" name="Flussdiagramm: Verbindungsstelle 28"/>
          <p:cNvSpPr/>
          <p:nvPr/>
        </p:nvSpPr>
        <p:spPr bwMode="auto">
          <a:xfrm>
            <a:off x="4518571" y="5165203"/>
            <a:ext cx="360000" cy="360000"/>
          </a:xfrm>
          <a:prstGeom prst="flowChartConnector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rPr>
              <a:t>Q</a:t>
            </a:r>
          </a:p>
        </p:txBody>
      </p:sp>
      <p:sp>
        <p:nvSpPr>
          <p:cNvPr id="30" name="Flussdiagramm: Verbindungsstelle 29"/>
          <p:cNvSpPr/>
          <p:nvPr/>
        </p:nvSpPr>
        <p:spPr bwMode="auto">
          <a:xfrm>
            <a:off x="6036908" y="5165203"/>
            <a:ext cx="360000" cy="360000"/>
          </a:xfrm>
          <a:prstGeom prst="flowChartConnector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rPr>
              <a:t>S</a:t>
            </a:r>
          </a:p>
        </p:txBody>
      </p:sp>
      <p:cxnSp>
        <p:nvCxnSpPr>
          <p:cNvPr id="31" name="Gerade Verbindung mit Pfeil 30"/>
          <p:cNvCxnSpPr>
            <a:stCxn id="29" idx="6"/>
            <a:endCxn id="30" idx="2"/>
          </p:cNvCxnSpPr>
          <p:nvPr/>
        </p:nvCxnSpPr>
        <p:spPr bwMode="auto">
          <a:xfrm>
            <a:off x="4878571" y="5345203"/>
            <a:ext cx="1158337" cy="0"/>
          </a:xfrm>
          <a:prstGeom prst="straightConnector1">
            <a:avLst/>
          </a:prstGeom>
          <a:solidFill>
            <a:srgbClr val="C8CDD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Gekrümmte Verbindung 31"/>
          <p:cNvCxnSpPr>
            <a:stCxn id="29" idx="0"/>
            <a:endCxn id="30" idx="0"/>
          </p:cNvCxnSpPr>
          <p:nvPr/>
        </p:nvCxnSpPr>
        <p:spPr bwMode="auto">
          <a:xfrm rot="5400000" flipH="1" flipV="1">
            <a:off x="5457739" y="4406035"/>
            <a:ext cx="12700" cy="1518337"/>
          </a:xfrm>
          <a:prstGeom prst="curvedConnector3">
            <a:avLst>
              <a:gd name="adj1" fmla="val 1800000"/>
            </a:avLst>
          </a:prstGeom>
          <a:solidFill>
            <a:srgbClr val="C8CDD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3" name="Textfeld 32"/>
              <p:cNvSpPr txBox="1"/>
              <p:nvPr/>
            </p:nvSpPr>
            <p:spPr>
              <a:xfrm>
                <a:off x="5136781" y="5116542"/>
                <a:ext cx="628970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 (1,0,1)</a:t>
                </a:r>
              </a:p>
            </p:txBody>
          </p:sp>
        </mc:Choice>
        <mc:Fallback xmlns="">
          <p:sp>
            <p:nvSpPr>
              <p:cNvPr id="33" name="Textfeld 3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36781" y="5116542"/>
                <a:ext cx="628970" cy="184666"/>
              </a:xfrm>
              <a:prstGeom prst="rect">
                <a:avLst/>
              </a:prstGeom>
              <a:blipFill rotWithShape="1">
                <a:blip r:embed="rId6"/>
                <a:stretch>
                  <a:fillRect l="-6796" t="-25806" r="-10680" b="-4516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Textfeld 33"/>
              <p:cNvSpPr txBox="1"/>
              <p:nvPr/>
            </p:nvSpPr>
            <p:spPr>
              <a:xfrm>
                <a:off x="5136780" y="4725144"/>
                <a:ext cx="683816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2</m:t>
                        </m:r>
                      </m:sub>
                    </m:sSub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(1,1,0)</a:t>
                </a:r>
                <a:endParaRPr kumimoji="0" lang="de-DE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34" name="Textfeld 3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36780" y="4725144"/>
                <a:ext cx="683816" cy="184666"/>
              </a:xfrm>
              <a:prstGeom prst="rect">
                <a:avLst/>
              </a:prstGeom>
              <a:blipFill rotWithShape="1">
                <a:blip r:embed="rId7"/>
                <a:stretch>
                  <a:fillRect l="-6250" t="-26667" b="-50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7" name="Inhaltsplatzhalter 5"/>
              <p:cNvSpPr txBox="1">
                <a:spLocks/>
              </p:cNvSpPr>
              <p:nvPr/>
            </p:nvSpPr>
            <p:spPr bwMode="auto">
              <a:xfrm>
                <a:off x="6885801" y="2492895"/>
                <a:ext cx="2889354" cy="393709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lang="de-DE" sz="1600" dirty="0" smtClean="0">
                    <a:solidFill>
                      <a:schemeClr val="tx1"/>
                    </a:solidFill>
                    <a:latin typeface="DB Office" panose="020B0604020202020204" pitchFamily="34" charset="0"/>
                    <a:ea typeface="+mn-ea"/>
                    <a:cs typeface="+mn-cs"/>
                  </a:defRPr>
                </a:lvl1pPr>
                <a:lvl2pPr marL="180000" indent="-1800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SzPct val="85000"/>
                  <a:buFont typeface="Wingdings" pitchFamily="2" charset="2"/>
                  <a:buChar char="n"/>
                  <a:defRPr lang="de-DE" sz="1600" dirty="0" smtClean="0">
                    <a:solidFill>
                      <a:schemeClr val="tx1"/>
                    </a:solidFill>
                    <a:latin typeface="DB Office" panose="020B0604020202020204" pitchFamily="34" charset="0"/>
                  </a:defRPr>
                </a:lvl2pPr>
                <a:lvl3pPr marL="358775" indent="-1800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Char char="–"/>
                  <a:defRPr lang="de-DE" sz="1600" dirty="0" smtClean="0">
                    <a:solidFill>
                      <a:schemeClr val="tx1"/>
                    </a:solidFill>
                    <a:latin typeface="DB Office" panose="020B0604020202020204" pitchFamily="34" charset="0"/>
                  </a:defRPr>
                </a:lvl3pPr>
                <a:lvl4pPr marL="540000" indent="-1800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Font typeface="Wingdings" pitchFamily="2" charset="2"/>
                  <a:buChar char="§"/>
                  <a:defRPr lang="de-DE" sz="1600" dirty="0" smtClean="0">
                    <a:solidFill>
                      <a:schemeClr val="tx1"/>
                    </a:solidFill>
                    <a:latin typeface="DB Office" panose="020B0604020202020204" pitchFamily="34" charset="0"/>
                  </a:defRPr>
                </a:lvl4pPr>
                <a:lvl5pPr marL="720000" indent="-1800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Char char="–"/>
                  <a:defRPr lang="de-DE" sz="1600" dirty="0">
                    <a:solidFill>
                      <a:schemeClr val="tx1"/>
                    </a:solidFill>
                    <a:latin typeface="DB Office" panose="020B0604020202020204" pitchFamily="34" charset="0"/>
                  </a:defRPr>
                </a:lvl5pPr>
                <a:lvl6pPr marL="1185863" indent="-182563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1643063" indent="-182563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2100263" indent="-182563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2557463" indent="-182563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>
                  <a:defRPr/>
                </a:pPr>
                <a:r>
                  <a:rPr lang="de-DE" sz="1200" u="sng" kern="0" dirty="0" err="1">
                    <a:solidFill>
                      <a:srgbClr val="000000"/>
                    </a:solidFill>
                  </a:rPr>
                  <a:t>Fahrlage</a:t>
                </a:r>
                <a:r>
                  <a:rPr lang="de-DE" sz="1200" u="sng" kern="0" dirty="0">
                    <a:solidFill>
                      <a:srgbClr val="000000"/>
                    </a:solidFill>
                  </a:rPr>
                  <a:t> </a:t>
                </a:r>
                <a:r>
                  <a:rPr lang="de-DE" sz="1200" u="sng" kern="0" dirty="0" smtClean="0">
                    <a:solidFill>
                      <a:srgbClr val="000000"/>
                    </a:solidFill>
                  </a:rPr>
                  <a:t>r</a:t>
                </a:r>
                <a:r>
                  <a:rPr lang="de-DE" sz="1200" u="sng" kern="0" baseline="-25000" dirty="0" smtClean="0">
                    <a:solidFill>
                      <a:srgbClr val="000000"/>
                    </a:solidFill>
                  </a:rPr>
                  <a:t>2</a:t>
                </a:r>
                <a:r>
                  <a:rPr lang="de-DE" sz="1200" u="sng" kern="0" dirty="0" smtClean="0">
                    <a:solidFill>
                      <a:srgbClr val="000000"/>
                    </a:solidFill>
                  </a:rPr>
                  <a:t>:</a:t>
                </a:r>
                <a:endParaRPr lang="de-DE" sz="1200" u="sng" kern="0" dirty="0">
                  <a:solidFill>
                    <a:srgbClr val="000000"/>
                  </a:solidFill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kumimoji="0" lang="ar-AE" sz="1200" b="1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1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𝒑</m:t>
                        </m:r>
                      </m:e>
                      <m:sub>
                        <m:r>
                          <a:rPr kumimoji="0" lang="ar-AE" sz="1200" b="1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𝟎</m:t>
                        </m:r>
                      </m:sub>
                      <m:sup>
                        <m:r>
                          <a:rPr kumimoji="0" lang="de-DE" sz="1200" b="1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𝟐</m:t>
                        </m:r>
                      </m:sup>
                    </m:sSubSup>
                    <m:d>
                      <m:d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dPr>
                      <m:e>
                        <m:r>
                          <a:rPr kumimoji="0" lang="ar-A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=</m:t>
                        </m:r>
                        <m:sSubSup>
                          <m:sSubSupPr>
                            <m:ctrlPr>
                              <a:rPr kumimoji="0" lang="ar-AE" sz="1200" b="0" i="1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  <a:ea typeface="+mn-ea"/>
                                <a:cs typeface="+mn-cs"/>
                              </a:rPr>
                            </m:ctrlPr>
                          </m:sSubSup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  <a:ea typeface="+mn-ea"/>
                                <a:cs typeface="+mn-cs"/>
                              </a:rPr>
                              <m:t>𝑥</m:t>
                            </m:r>
                          </m:e>
                          <m:sub>
                            <m:r>
                              <a:rPr kumimoji="0" lang="ar-AE" sz="1200" b="0" i="1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  <a:ea typeface="+mn-ea"/>
                                <a:cs typeface="+mn-cs"/>
                              </a:rPr>
                              <m:t>0</m:t>
                            </m:r>
                          </m:sub>
                          <m:sup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  <a:ea typeface="+mn-ea"/>
                                <a:cs typeface="+mn-cs"/>
                              </a:rPr>
                              <m:t>2</m:t>
                            </m:r>
                          </m:sup>
                        </m:sSubSup>
                      </m:e>
                    </m:d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/>
                </a:r>
                <a:b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</a:b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(0,1,1)</a:t>
                </a:r>
                <a:endParaRPr kumimoji="0" lang="ar-A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r>
                      <a:rPr kumimoji="0" lang="ar-AE" sz="1200" b="1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 </m:t>
                    </m:r>
                    <m:sSubSup>
                      <m:sSubSupPr>
                        <m:ctrlPr>
                          <a:rPr kumimoji="0" lang="ar-AE" sz="1200" b="1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1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𝒑</m:t>
                        </m:r>
                      </m:e>
                      <m:sub>
                        <m:r>
                          <a:rPr kumimoji="0" lang="ar-AE" sz="1200" b="1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𝟏</m:t>
                        </m:r>
                      </m:sub>
                      <m:sup>
                        <m:r>
                          <a:rPr kumimoji="0" lang="de-DE" sz="1200" b="1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𝟐</m:t>
                        </m:r>
                      </m:sup>
                    </m:sSubSup>
                  </m:oMath>
                </a14:m>
                <a:r>
                  <a:rPr kumimoji="0" lang="ar-AE" sz="12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: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r>
                      <a:rPr kumimoji="0" lang="ar-AE" sz="12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 </m:t>
                    </m:r>
                    <m:sSubSup>
                      <m:sSubSupPr>
                        <m:ctrlPr>
                          <a:rPr kumimoji="0" lang="ar-A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2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2</m:t>
                        </m:r>
                      </m:sup>
                    </m:sSubSup>
                  </m:oMath>
                </a14:m>
                <a:r>
                  <a:rPr kumimoji="0" lang="ar-A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/>
                </a:r>
                <a:b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</a:b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(0,1,1)</a:t>
                </a:r>
                <a:endParaRPr kumimoji="0" lang="ar-A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  <a:sym typeface="Wingdings" panose="05000000000000000000" pitchFamily="2" charset="2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  <a:sym typeface="Wingdings" panose="05000000000000000000" pitchFamily="2" charset="2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200" kern="0" dirty="0">
                  <a:solidFill>
                    <a:srgbClr val="000000"/>
                  </a:solidFill>
                  <a:sym typeface="Wingdings" panose="05000000000000000000" pitchFamily="2" charset="2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ar-A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  <a:sym typeface="Wingdings" panose="05000000000000000000" pitchFamily="2" charset="2"/>
                </a:endParaRPr>
              </a:p>
              <a:p>
                <a:pPr marL="285750" lvl="0" indent="-285750">
                  <a:buFont typeface="Wingdings"/>
                  <a:buChar char="à"/>
                </a:pP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  <a:sym typeface="Wingdings" panose="05000000000000000000" pitchFamily="2" charset="2"/>
                  </a:rPr>
                  <a:t>Kein Weg möglich</a:t>
                </a:r>
              </a:p>
              <a:p>
                <a:pPr marL="285750" lvl="0" indent="-285750">
                  <a:buFont typeface="Wingdings"/>
                  <a:buChar char="à"/>
                </a:pP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  <a:sym typeface="Wingdings" panose="05000000000000000000" pitchFamily="2" charset="2"/>
                  </a:rPr>
                  <a:t>Es </a:t>
                </a:r>
                <a:r>
                  <a:rPr kumimoji="0" lang="de-DE" sz="1200" b="0" i="0" u="none" strike="noStrike" kern="0" cap="none" spc="0" normalizeH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gilt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ar-A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  <m:r>
                      <a:rPr lang="de-DE" sz="1200" b="0" i="1" kern="0" smtClean="0">
                        <a:solidFill>
                          <a:srgbClr val="000000"/>
                        </a:solidFill>
                        <a:latin typeface="Cambria Math"/>
                      </a:rPr>
                      <m:t>=</m:t>
                    </m:r>
                    <m:sSubSup>
                      <m:sSubSupPr>
                        <m:ctrlPr>
                          <a:rPr lang="ar-A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, deshalb keine separate Wegesuche für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ar-A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 notwendig</a:t>
                </a:r>
              </a:p>
            </p:txBody>
          </p:sp>
        </mc:Choice>
        <mc:Fallback xmlns="">
          <p:sp>
            <p:nvSpPr>
              <p:cNvPr id="37" name="Inhaltsplatzhalter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885801" y="2492895"/>
                <a:ext cx="2889354" cy="3937093"/>
              </a:xfrm>
              <a:prstGeom prst="rect">
                <a:avLst/>
              </a:prstGeom>
              <a:blipFill rotWithShape="1">
                <a:blip r:embed="rId8"/>
                <a:stretch>
                  <a:fillRect l="-3376" t="-1393" r="-3165" b="-619"/>
                </a:stretch>
              </a:blipFill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8" name="Flussdiagramm: Verbindungsstelle 37"/>
          <p:cNvSpPr/>
          <p:nvPr/>
        </p:nvSpPr>
        <p:spPr bwMode="auto">
          <a:xfrm>
            <a:off x="7749897" y="3108013"/>
            <a:ext cx="360000" cy="360000"/>
          </a:xfrm>
          <a:prstGeom prst="flowChartConnector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rPr>
              <a:t>Q</a:t>
            </a:r>
          </a:p>
        </p:txBody>
      </p:sp>
      <p:sp>
        <p:nvSpPr>
          <p:cNvPr id="39" name="Flussdiagramm: Verbindungsstelle 38"/>
          <p:cNvSpPr/>
          <p:nvPr/>
        </p:nvSpPr>
        <p:spPr bwMode="auto">
          <a:xfrm>
            <a:off x="9190057" y="3108013"/>
            <a:ext cx="360000" cy="360000"/>
          </a:xfrm>
          <a:prstGeom prst="flowChartConnector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rPr>
              <a:t>S</a:t>
            </a:r>
          </a:p>
        </p:txBody>
      </p:sp>
      <p:cxnSp>
        <p:nvCxnSpPr>
          <p:cNvPr id="40" name="Gerade Verbindung mit Pfeil 39"/>
          <p:cNvCxnSpPr>
            <a:stCxn id="38" idx="6"/>
            <a:endCxn id="39" idx="2"/>
          </p:cNvCxnSpPr>
          <p:nvPr/>
        </p:nvCxnSpPr>
        <p:spPr bwMode="auto">
          <a:xfrm>
            <a:off x="8109897" y="3288013"/>
            <a:ext cx="1080160" cy="0"/>
          </a:xfrm>
          <a:prstGeom prst="straightConnector1">
            <a:avLst/>
          </a:prstGeom>
          <a:solidFill>
            <a:srgbClr val="C8CDD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Gekrümmte Verbindung 40"/>
          <p:cNvCxnSpPr>
            <a:stCxn id="38" idx="0"/>
            <a:endCxn id="39" idx="0"/>
          </p:cNvCxnSpPr>
          <p:nvPr/>
        </p:nvCxnSpPr>
        <p:spPr bwMode="auto">
          <a:xfrm rot="5400000" flipH="1" flipV="1">
            <a:off x="8649977" y="2387933"/>
            <a:ext cx="12700" cy="1440160"/>
          </a:xfrm>
          <a:prstGeom prst="curvedConnector3">
            <a:avLst>
              <a:gd name="adj1" fmla="val 1800000"/>
            </a:avLst>
          </a:prstGeom>
          <a:solidFill>
            <a:srgbClr val="C8CDD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feld 41"/>
              <p:cNvSpPr txBox="1"/>
              <p:nvPr/>
            </p:nvSpPr>
            <p:spPr>
              <a:xfrm>
                <a:off x="8397969" y="3069913"/>
                <a:ext cx="628970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 (1,0,1)</a:t>
                </a:r>
              </a:p>
            </p:txBody>
          </p:sp>
        </mc:Choice>
        <mc:Fallback xmlns="">
          <p:sp>
            <p:nvSpPr>
              <p:cNvPr id="42" name="Textfeld 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97969" y="3069913"/>
                <a:ext cx="628970" cy="184666"/>
              </a:xfrm>
              <a:prstGeom prst="rect">
                <a:avLst/>
              </a:prstGeom>
              <a:blipFill rotWithShape="1">
                <a:blip r:embed="rId4"/>
                <a:stretch>
                  <a:fillRect l="-6796" t="-30000" r="-10680" b="-466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" name="Textfeld 42"/>
              <p:cNvSpPr txBox="1"/>
              <p:nvPr/>
            </p:nvSpPr>
            <p:spPr>
              <a:xfrm>
                <a:off x="8397970" y="2636911"/>
                <a:ext cx="628970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2</m:t>
                        </m:r>
                      </m:sub>
                    </m:sSub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(1,1,0)</a:t>
                </a:r>
                <a:endParaRPr kumimoji="0" lang="de-DE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43" name="Textfeld 4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97970" y="2636911"/>
                <a:ext cx="628970" cy="184666"/>
              </a:xfrm>
              <a:prstGeom prst="rect">
                <a:avLst/>
              </a:prstGeom>
              <a:blipFill rotWithShape="1">
                <a:blip r:embed="rId5"/>
                <a:stretch>
                  <a:fillRect l="-6796" t="-30000" r="-4854" b="-466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4" name="Flussdiagramm: Verbindungsstelle 43"/>
          <p:cNvSpPr/>
          <p:nvPr/>
        </p:nvSpPr>
        <p:spPr bwMode="auto">
          <a:xfrm>
            <a:off x="7743768" y="4368089"/>
            <a:ext cx="360000" cy="360000"/>
          </a:xfrm>
          <a:prstGeom prst="flowChartConnector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rPr>
              <a:t>Q</a:t>
            </a:r>
          </a:p>
        </p:txBody>
      </p:sp>
      <p:sp>
        <p:nvSpPr>
          <p:cNvPr id="45" name="Flussdiagramm: Verbindungsstelle 44"/>
          <p:cNvSpPr/>
          <p:nvPr/>
        </p:nvSpPr>
        <p:spPr bwMode="auto">
          <a:xfrm>
            <a:off x="9262105" y="4368089"/>
            <a:ext cx="360000" cy="360000"/>
          </a:xfrm>
          <a:prstGeom prst="flowChartConnector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rPr>
              <a:t>S</a:t>
            </a:r>
          </a:p>
        </p:txBody>
      </p:sp>
      <p:cxnSp>
        <p:nvCxnSpPr>
          <p:cNvPr id="46" name="Gerade Verbindung mit Pfeil 45"/>
          <p:cNvCxnSpPr>
            <a:stCxn id="44" idx="6"/>
            <a:endCxn id="45" idx="2"/>
          </p:cNvCxnSpPr>
          <p:nvPr/>
        </p:nvCxnSpPr>
        <p:spPr bwMode="auto">
          <a:xfrm>
            <a:off x="8103768" y="4548089"/>
            <a:ext cx="1158337" cy="0"/>
          </a:xfrm>
          <a:prstGeom prst="straightConnector1">
            <a:avLst/>
          </a:prstGeom>
          <a:solidFill>
            <a:srgbClr val="C8CDD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Gekrümmte Verbindung 46"/>
          <p:cNvCxnSpPr>
            <a:stCxn id="44" idx="0"/>
            <a:endCxn id="45" idx="0"/>
          </p:cNvCxnSpPr>
          <p:nvPr/>
        </p:nvCxnSpPr>
        <p:spPr bwMode="auto">
          <a:xfrm rot="5400000" flipH="1" flipV="1">
            <a:off x="8682936" y="3608921"/>
            <a:ext cx="12700" cy="1518337"/>
          </a:xfrm>
          <a:prstGeom prst="curvedConnector3">
            <a:avLst>
              <a:gd name="adj1" fmla="val 1800000"/>
            </a:avLst>
          </a:prstGeom>
          <a:solidFill>
            <a:srgbClr val="C8CDD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8" name="Textfeld 47"/>
              <p:cNvSpPr txBox="1"/>
              <p:nvPr/>
            </p:nvSpPr>
            <p:spPr>
              <a:xfrm>
                <a:off x="8415998" y="4324453"/>
                <a:ext cx="628970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 (1,0,1)</a:t>
                </a:r>
              </a:p>
            </p:txBody>
          </p:sp>
        </mc:Choice>
        <mc:Fallback xmlns="">
          <p:sp>
            <p:nvSpPr>
              <p:cNvPr id="48" name="Textfeld 4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15998" y="4324453"/>
                <a:ext cx="628970" cy="184666"/>
              </a:xfrm>
              <a:prstGeom prst="rect">
                <a:avLst/>
              </a:prstGeom>
              <a:blipFill rotWithShape="1">
                <a:blip r:embed="rId6"/>
                <a:stretch>
                  <a:fillRect l="-6796" t="-25806" r="-10680" b="-4516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9" name="Textfeld 48"/>
              <p:cNvSpPr txBox="1"/>
              <p:nvPr/>
            </p:nvSpPr>
            <p:spPr>
              <a:xfrm>
                <a:off x="8415997" y="3933055"/>
                <a:ext cx="683816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2</m:t>
                        </m:r>
                      </m:sub>
                    </m:sSub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(1,1,0)</a:t>
                </a:r>
                <a:endParaRPr kumimoji="0" lang="de-DE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49" name="Textfeld 4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15997" y="3933055"/>
                <a:ext cx="683816" cy="184666"/>
              </a:xfrm>
              <a:prstGeom prst="rect">
                <a:avLst/>
              </a:prstGeom>
              <a:blipFill rotWithShape="1">
                <a:blip r:embed="rId7"/>
                <a:stretch>
                  <a:fillRect l="-6250" t="-26667" b="-50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0" name="Runde Klammer links 49"/>
          <p:cNvSpPr/>
          <p:nvPr/>
        </p:nvSpPr>
        <p:spPr bwMode="auto">
          <a:xfrm>
            <a:off x="6741785" y="3717031"/>
            <a:ext cx="288032" cy="1192779"/>
          </a:xfrm>
          <a:prstGeom prst="leftBracket">
            <a:avLst>
              <a:gd name="adj" fmla="val 61244"/>
            </a:avLst>
          </a:prstGeom>
          <a:noFill/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1" name="Runde Klammer rechts 50"/>
          <p:cNvSpPr/>
          <p:nvPr/>
        </p:nvSpPr>
        <p:spPr bwMode="auto">
          <a:xfrm>
            <a:off x="9550057" y="3717031"/>
            <a:ext cx="225098" cy="1192779"/>
          </a:xfrm>
          <a:prstGeom prst="rightBracket">
            <a:avLst>
              <a:gd name="adj" fmla="val 83691"/>
            </a:avLst>
          </a:prstGeom>
          <a:noFill/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2" name="ElementText1"/>
          <p:cNvSpPr txBox="1">
            <a:spLocks/>
          </p:cNvSpPr>
          <p:nvPr/>
        </p:nvSpPr>
        <p:spPr bwMode="gray">
          <a:xfrm>
            <a:off x="270099" y="2564902"/>
            <a:ext cx="2808312" cy="2163187"/>
          </a:xfrm>
          <a:prstGeom prst="rect">
            <a:avLst/>
          </a:prstGeom>
          <a:solidFill>
            <a:srgbClr val="FFFFFF"/>
          </a:solidFill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300"/>
              </a:spcBef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Wegesuche für alle </a:t>
            </a:r>
            <a:r>
              <a:rPr lang="de-DE" sz="1200" dirty="0" err="1" smtClean="0">
                <a:solidFill>
                  <a:srgbClr val="000000"/>
                </a:solidFill>
                <a:latin typeface="DB Office"/>
              </a:rPr>
              <a:t>konfliktären</a:t>
            </a: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 Fahrlagenvarianten</a:t>
            </a:r>
          </a:p>
          <a:p>
            <a:pPr lvl="1">
              <a:spcBef>
                <a:spcPts val="300"/>
              </a:spcBef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In Wegesuche können Bit-Schlüssel verwendet werden </a:t>
            </a:r>
            <a:r>
              <a:rPr lang="de-DE" sz="1200" dirty="0" smtClean="0">
                <a:solidFill>
                  <a:srgbClr val="000000"/>
                </a:solidFill>
                <a:latin typeface="DB Office"/>
                <a:sym typeface="Wingdings" panose="05000000000000000000" pitchFamily="2" charset="2"/>
              </a:rPr>
              <a:t> Bits des gesperrten Zeitraums an Systemtrasse auf 0 setzen</a:t>
            </a:r>
            <a:endParaRPr lang="de-DE" sz="1200" dirty="0" smtClean="0">
              <a:solidFill>
                <a:srgbClr val="000000"/>
              </a:solidFill>
              <a:latin typeface="DB Office"/>
            </a:endParaRPr>
          </a:p>
          <a:p>
            <a:pPr lvl="1">
              <a:spcBef>
                <a:spcPts val="300"/>
              </a:spcBef>
            </a:pP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  <a:latin typeface="DB Office"/>
              </a:rPr>
              <a:t>TBD - </a:t>
            </a:r>
            <a:r>
              <a:rPr lang="de-DE" sz="1200" dirty="0">
                <a:solidFill>
                  <a:schemeClr val="bg1">
                    <a:lumMod val="75000"/>
                  </a:schemeClr>
                </a:solidFill>
                <a:latin typeface="DB Office"/>
              </a:rPr>
              <a:t>G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  <a:latin typeface="DB Office"/>
              </a:rPr>
              <a:t>eringere Anzahl an Wegesuchen wenn neue 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  <a:latin typeface="DB Office"/>
              </a:rPr>
              <a:t>Wegesuche nur für Fahrlagenvarianten 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  <a:latin typeface="DB Office"/>
              </a:rPr>
              <a:t>angestoßen wird, 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  <a:latin typeface="DB Office"/>
              </a:rPr>
              <a:t>die während des gesperrten Zeitraums verkehren</a:t>
            </a:r>
            <a:endParaRPr lang="de-DE" sz="1200" dirty="0">
              <a:solidFill>
                <a:schemeClr val="bg1">
                  <a:lumMod val="75000"/>
                </a:schemeClr>
              </a:solidFill>
              <a:latin typeface="DB Office"/>
            </a:endParaRPr>
          </a:p>
        </p:txBody>
      </p:sp>
    </p:spTree>
    <p:extLst>
      <p:ext uri="{BB962C8B-B14F-4D97-AF65-F5344CB8AC3E}">
        <p14:creationId xmlns:p14="http://schemas.microsoft.com/office/powerpoint/2010/main" val="3573229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blauf SAT-Modell in der ganzjährigen Belegung (7/X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Patrick Breun, Jordis Wächter | Dresden | 19.12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70099" y="1981193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Vergleichen der Partitione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15" name="Gerade Verbindung mit Pfeil 14"/>
          <p:cNvCxnSpPr>
            <a:stCxn id="12" idx="2"/>
          </p:cNvCxnSpPr>
          <p:nvPr/>
        </p:nvCxnSpPr>
        <p:spPr bwMode="auto">
          <a:xfrm>
            <a:off x="1674255" y="2420888"/>
            <a:ext cx="0" cy="396044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mit Pfeil 20"/>
          <p:cNvCxnSpPr>
            <a:endCxn id="12" idx="0"/>
          </p:cNvCxnSpPr>
          <p:nvPr/>
        </p:nvCxnSpPr>
        <p:spPr bwMode="auto">
          <a:xfrm>
            <a:off x="1674255" y="1628800"/>
            <a:ext cx="0" cy="35239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hteck 12"/>
              <p:cNvSpPr/>
              <p:nvPr/>
            </p:nvSpPr>
            <p:spPr bwMode="auto">
              <a:xfrm>
                <a:off x="3654475" y="1556792"/>
                <a:ext cx="5976664" cy="1152128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sng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Notation:</a:t>
                </a:r>
              </a:p>
              <a:p>
                <a:pPr lvl="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𝜔</m:t>
                        </m:r>
                      </m:e>
                      <m:sub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𝑙</m:t>
                        </m:r>
                      </m:sub>
                      <m:sup>
                        <m:r>
                          <a:rPr lang="de-DE" sz="1200" i="1">
                            <a:latin typeface="Cambria Math"/>
                          </a:rPr>
                          <m:t>𝑟</m:t>
                        </m:r>
                      </m:sup>
                    </m:sSubSup>
                  </m:oMath>
                </a14:m>
                <a:r>
                  <a:rPr lang="de-DE" sz="1200" i="1" dirty="0" smtClean="0">
                    <a:latin typeface="Cambria Math"/>
                    <a:ea typeface="Cambria Math"/>
                  </a:rPr>
                  <a:t>   </a:t>
                </a:r>
                <a:r>
                  <a:rPr lang="de-DE" sz="1200" kern="0" dirty="0">
                    <a:solidFill>
                      <a:srgbClr val="000000"/>
                    </a:solidFill>
                    <a:latin typeface="DB Office"/>
                  </a:rPr>
                  <a:t>Qualitätskennzahl einer Partition</a:t>
                </a:r>
              </a:p>
              <a:p>
                <a:pPr lvl="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14:m>
                  <m:oMath xmlns:m="http://schemas.openxmlformats.org/officeDocument/2006/math">
                    <m:r>
                      <a:rPr lang="de-DE" sz="1200" i="1">
                        <a:latin typeface="Cambria Math"/>
                        <a:ea typeface="Cambria Math"/>
                      </a:rPr>
                      <m:t>𝛼</m:t>
                    </m:r>
                    <m:r>
                      <a:rPr lang="de-DE" sz="1200" i="1">
                        <a:latin typeface="Cambria Math"/>
                        <a:ea typeface="Cambria Math"/>
                      </a:rPr>
                      <m:t> </m:t>
                    </m:r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   Gewichtung (Wie wichtig ist dem Anwender die Homogenität?)</a:t>
                </a:r>
              </a:p>
              <a:p>
                <a:pPr lvl="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latin typeface="Cambria Math"/>
                            <a:ea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𝐵</m:t>
                        </m:r>
                      </m:e>
                      <m:sub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𝑙</m:t>
                        </m:r>
                      </m:sub>
                      <m:sup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𝑟</m:t>
                        </m:r>
                      </m:sup>
                    </m:sSubSup>
                  </m:oMath>
                </a14:m>
                <a:r>
                  <a:rPr kumimoji="0" lang="de-DE" sz="1200" b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  Homogenitätskennzahl einer Partition</a:t>
                </a:r>
                <a:r>
                  <a:rPr kumimoji="0" lang="de-DE" sz="1200" b="0" u="none" strike="noStrike" kern="0" cap="none" spc="0" normalizeH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(abhängig von Anzahl Fahrlagenvarianten </a:t>
                </a:r>
                <a:br>
                  <a:rPr kumimoji="0" lang="de-DE" sz="1200" b="0" u="none" strike="noStrike" kern="0" cap="none" spc="0" normalizeH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</a:br>
                <a:r>
                  <a:rPr kumimoji="0" lang="de-DE" sz="1200" b="0" u="none" strike="noStrike" kern="0" cap="none" spc="0" normalizeH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      und Verkehrstagen, liegt zwischen 0 und 1)</a:t>
                </a:r>
              </a:p>
              <a:p>
                <a:pPr lvl="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de-DE" sz="1200" i="1" kern="0" baseline="0" dirty="0" smtClean="0">
                    <a:solidFill>
                      <a:srgbClr val="000000"/>
                    </a:solidFill>
                    <a:latin typeface="DB Office"/>
                  </a:rPr>
                  <a:t>VT</a:t>
                </a:r>
                <a:r>
                  <a:rPr lang="de-DE" sz="1200" kern="0" baseline="0" dirty="0" smtClean="0">
                    <a:solidFill>
                      <a:srgbClr val="000000"/>
                    </a:solidFill>
                    <a:latin typeface="DB Office"/>
                  </a:rPr>
                  <a:t>   Anzahl Verkehrstage	</a:t>
                </a:r>
                <a:endParaRPr kumimoji="0" lang="de-DE" sz="12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DB Office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3" name="Rechteck 1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654475" y="1556792"/>
                <a:ext cx="5976664" cy="1152128"/>
              </a:xfrm>
              <a:prstGeom prst="rect">
                <a:avLst/>
              </a:prstGeom>
              <a:blipFill rotWithShape="1">
                <a:blip r:embed="rId3"/>
                <a:stretch>
                  <a:fillRect l="-203" t="-1571" b="-4712"/>
                </a:stretch>
              </a:blip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2" name="ElementText1"/>
          <p:cNvSpPr txBox="1">
            <a:spLocks/>
          </p:cNvSpPr>
          <p:nvPr/>
        </p:nvSpPr>
        <p:spPr bwMode="gray">
          <a:xfrm>
            <a:off x="270099" y="2492896"/>
            <a:ext cx="2808312" cy="2016224"/>
          </a:xfrm>
          <a:prstGeom prst="rect">
            <a:avLst/>
          </a:prstGeom>
          <a:solidFill>
            <a:srgbClr val="FFFFFF"/>
          </a:solidFill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300"/>
              </a:spcBef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Berechne Qualitätskennzahl für alle Partitionen der im Konflikt stehenden Fahrlagen</a:t>
            </a:r>
          </a:p>
          <a:p>
            <a:pPr lvl="1">
              <a:spcBef>
                <a:spcPts val="300"/>
              </a:spcBef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Aufnahme der Partition </a:t>
            </a:r>
            <a:r>
              <a:rPr lang="de-DE" sz="1200" dirty="0">
                <a:solidFill>
                  <a:srgbClr val="000000"/>
                </a:solidFill>
                <a:latin typeface="DB Office"/>
              </a:rPr>
              <a:t>mit größter Qualitätskennzahl </a:t>
            </a: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sowie der zugehörigen Wege</a:t>
            </a:r>
            <a:endParaRPr lang="de-DE" sz="1200" dirty="0">
              <a:solidFill>
                <a:srgbClr val="000000"/>
              </a:solidFill>
              <a:latin typeface="DB Office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hteck 4"/>
              <p:cNvSpPr/>
              <p:nvPr/>
            </p:nvSpPr>
            <p:spPr>
              <a:xfrm>
                <a:off x="126083" y="3717300"/>
                <a:ext cx="3096344" cy="7918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𝜔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𝑙</m:t>
                          </m:r>
                        </m:sub>
                        <m:sup>
                          <m:r>
                            <a:rPr lang="de-DE" sz="1200" i="1">
                              <a:latin typeface="Cambria Math"/>
                            </a:rPr>
                            <m:t>𝑟</m:t>
                          </m:r>
                        </m:sup>
                      </m:sSubSup>
                      <m:r>
                        <a:rPr lang="de-DE" sz="1200" i="1">
                          <a:latin typeface="Cambria Math"/>
                        </a:rPr>
                        <m:t>=</m:t>
                      </m:r>
                      <m:d>
                        <m:dPr>
                          <m:ctrlPr>
                            <a:rPr lang="de-DE" sz="1200" i="1">
                              <a:latin typeface="Cambria Math"/>
                              <a:ea typeface="Cambria Math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de-DE" sz="1200" i="1">
                                  <a:latin typeface="Cambria Math"/>
                                </a:rPr>
                              </m:ctrlPr>
                            </m:sSupPr>
                            <m:e>
                              <m:r>
                                <a:rPr lang="de-DE" sz="1200" i="1">
                                  <a:latin typeface="Cambria Math"/>
                                </a:rPr>
                                <m:t>𝐵𝐹𝑄</m:t>
                              </m:r>
                            </m:e>
                            <m:sup>
                              <m:r>
                                <a:rPr lang="de-DE" sz="1200" i="1">
                                  <a:latin typeface="Cambria Math"/>
                                </a:rPr>
                                <m:t>𝑚𝑎𝑥</m:t>
                              </m:r>
                            </m:sup>
                          </m:sSup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⋅</m:t>
                          </m:r>
                          <m:sSub>
                            <m:sSubPr>
                              <m:ctrlPr>
                                <a:rPr lang="de-DE" sz="1200" i="1"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200" i="1">
                                  <a:latin typeface="Cambria Math"/>
                                  <a:ea typeface="Cambria Math"/>
                                </a:rPr>
                                <m:t>𝑉𝑇</m:t>
                              </m:r>
                            </m:e>
                            <m:sub>
                              <m:r>
                                <a:rPr lang="de-DE" sz="1200" i="1">
                                  <a:latin typeface="Cambria Math"/>
                                  <a:ea typeface="Cambria Math"/>
                                </a:rPr>
                                <m:t>𝑟</m:t>
                              </m:r>
                            </m:sub>
                          </m:sSub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−</m:t>
                          </m:r>
                          <m:d>
                            <m:dPr>
                              <m:ctrlPr>
                                <a:rPr lang="de-DE" sz="1200" i="1">
                                  <a:latin typeface="Cambria Math"/>
                                  <a:ea typeface="Cambria Math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supHide m:val="on"/>
                                  <m:ctrlPr>
                                    <a:rPr lang="de-DE" sz="1200" i="1">
                                      <a:latin typeface="Cambria Math"/>
                                      <a:ea typeface="Cambria Math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7"/>
                                    </m:rPr>
                                    <a:rPr lang="de-DE" sz="1200" i="1">
                                      <a:latin typeface="Cambria Math"/>
                                      <a:ea typeface="Cambria Math"/>
                                    </a:rPr>
                                    <m:t>𝑛</m:t>
                                  </m:r>
                                </m:sub>
                                <m:sup/>
                                <m:e>
                                  <m:sSub>
                                    <m:sSubPr>
                                      <m:ctrlPr>
                                        <a:rPr lang="de-DE" sz="1200" i="1">
                                          <a:latin typeface="Cambria Math"/>
                                          <a:ea typeface="Cambria Math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200" i="1">
                                          <a:latin typeface="Cambria Math"/>
                                          <a:ea typeface="Cambria Math"/>
                                        </a:rPr>
                                        <m:t>𝐵𝐹𝑄</m:t>
                                      </m:r>
                                    </m:e>
                                    <m:sub>
                                      <m:r>
                                        <a:rPr lang="de-DE" sz="1200" i="1">
                                          <a:latin typeface="Cambria Math"/>
                                          <a:ea typeface="Cambria Math"/>
                                        </a:rPr>
                                        <m:t>𝑛</m:t>
                                      </m:r>
                                    </m:sub>
                                  </m:sSub>
                                  <m:r>
                                    <a:rPr lang="de-DE" sz="1200" i="1">
                                      <a:latin typeface="Cambria Math"/>
                                      <a:ea typeface="Cambria Math"/>
                                    </a:rPr>
                                    <m:t>⋅</m:t>
                                  </m:r>
                                  <m:sSub>
                                    <m:sSubPr>
                                      <m:ctrlPr>
                                        <a:rPr lang="de-DE" sz="1200" i="1">
                                          <a:latin typeface="Cambria Math"/>
                                          <a:ea typeface="Cambria Math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200" i="1">
                                          <a:latin typeface="Cambria Math"/>
                                          <a:ea typeface="Cambria Math"/>
                                        </a:rPr>
                                        <m:t>𝑉𝑇</m:t>
                                      </m:r>
                                    </m:e>
                                    <m:sub>
                                      <m:r>
                                        <a:rPr lang="de-DE" sz="1200" i="1">
                                          <a:latin typeface="Cambria Math"/>
                                          <a:ea typeface="Cambria Math"/>
                                        </a:rPr>
                                        <m:t>𝑛</m:t>
                                      </m:r>
                                    </m:sub>
                                  </m:sSub>
                                </m:e>
                              </m:nary>
                            </m:e>
                          </m:d>
                        </m:e>
                      </m:d>
                      <m:r>
                        <a:rPr lang="de-DE" sz="1200" i="1">
                          <a:latin typeface="Cambria Math"/>
                          <a:ea typeface="Cambria Math"/>
                        </a:rPr>
                        <m:t>⋅</m:t>
                      </m:r>
                      <m:d>
                        <m:dPr>
                          <m:ctrlPr>
                            <a:rPr lang="de-DE" sz="1200" i="1">
                              <a:latin typeface="Cambria Math"/>
                              <a:ea typeface="Cambria Math"/>
                            </a:rPr>
                          </m:ctrlPr>
                        </m:dPr>
                        <m:e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𝛼</m:t>
                          </m:r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⋅</m:t>
                          </m:r>
                          <m:sSubSup>
                            <m:sSubSupPr>
                              <m:ctrlPr>
                                <a:rPr lang="de-DE" sz="1200" i="1" smtClean="0">
                                  <a:latin typeface="Cambria Math"/>
                                  <a:ea typeface="Cambria Math"/>
                                </a:rPr>
                              </m:ctrlPr>
                            </m:sSubSupPr>
                            <m:e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𝐵</m:t>
                              </m:r>
                            </m:e>
                            <m:sub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𝑙</m:t>
                              </m:r>
                            </m:sub>
                            <m:sup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𝑟</m:t>
                              </m:r>
                            </m:sup>
                          </m:sSubSup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⋅</m:t>
                          </m:r>
                          <m:d>
                            <m:dPr>
                              <m:ctrlPr>
                                <a:rPr lang="de-DE" sz="1200" i="1">
                                  <a:latin typeface="Cambria Math"/>
                                  <a:ea typeface="Cambria Math"/>
                                </a:rPr>
                              </m:ctrlPr>
                            </m:dPr>
                            <m:e>
                              <m:r>
                                <a:rPr lang="de-DE" sz="1200" i="1">
                                  <a:latin typeface="Cambria Math"/>
                                  <a:ea typeface="Cambria Math"/>
                                </a:rPr>
                                <m:t>1</m:t>
                              </m:r>
                              <m:r>
                                <a:rPr lang="de-DE" sz="1200" i="1">
                                  <a:latin typeface="Cambria Math"/>
                                  <a:ea typeface="Cambria Math"/>
                                </a:rPr>
                                <m:t>−</m:t>
                              </m:r>
                              <m:r>
                                <a:rPr lang="de-DE" sz="1200" i="1">
                                  <a:latin typeface="Cambria Math"/>
                                  <a:ea typeface="Cambria Math"/>
                                </a:rPr>
                                <m:t>𝛼</m:t>
                              </m:r>
                            </m:e>
                          </m:d>
                        </m:e>
                      </m:d>
                    </m:oMath>
                  </m:oMathPara>
                </a14:m>
                <a:endParaRPr lang="de-DE" sz="1200" dirty="0"/>
              </a:p>
            </p:txBody>
          </p:sp>
        </mc:Choice>
        <mc:Fallback xmlns="">
          <p:sp>
            <p:nvSpPr>
              <p:cNvPr id="5" name="Rechteck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083" y="3717300"/>
                <a:ext cx="3096344" cy="791820"/>
              </a:xfrm>
              <a:prstGeom prst="rect">
                <a:avLst/>
              </a:prstGeom>
              <a:blipFill rotWithShape="1">
                <a:blip r:embed="rId4"/>
                <a:stretch>
                  <a:fillRect t="-73846" r="-1378" b="-8538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5" name="ElementText1"/>
              <p:cNvSpPr txBox="1">
                <a:spLocks/>
              </p:cNvSpPr>
              <p:nvPr>
                <p:custDataLst>
                  <p:tags r:id="rId1"/>
                </p:custDataLst>
              </p:nvPr>
            </p:nvSpPr>
            <p:spPr>
              <a:xfrm>
                <a:off x="3654475" y="2924944"/>
                <a:ext cx="3096344" cy="24133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vert="horz" lIns="0" tIns="0" rIns="0" bIns="0" rtlCol="0">
                <a:noAutofit/>
              </a:bodyPr>
              <a:lstStyle>
                <a:defPPr>
                  <a:defRPr lang="de-DE"/>
                </a:defPPr>
                <a:lvl1pPr indent="0">
                  <a:spcBef>
                    <a:spcPct val="20000"/>
                  </a:spcBef>
                  <a:buClr>
                    <a:srgbClr val="FF0000"/>
                  </a:buClr>
                  <a:buSzPct val="85000"/>
                  <a:buFont typeface="Wingdings" pitchFamily="2" charset="2"/>
                  <a:buNone/>
                  <a:defRPr sz="1400" b="0">
                    <a:solidFill>
                      <a:srgbClr val="000000"/>
                    </a:solidFill>
                    <a:latin typeface="DB Office"/>
                  </a:defRPr>
                </a:lvl1pPr>
                <a:lvl2pPr marL="177800" lvl="1" indent="-177800">
                  <a:spcBef>
                    <a:spcPts val="600"/>
                  </a:spcBef>
                  <a:buClr>
                    <a:srgbClr val="FF0000"/>
                  </a:buClr>
                  <a:buSzPct val="85000"/>
                  <a:buFont typeface="Wingdings" pitchFamily="2" charset="2"/>
                  <a:buChar char="n"/>
                  <a:defRPr sz="1400">
                    <a:solidFill>
                      <a:srgbClr val="000000"/>
                    </a:solidFill>
                    <a:latin typeface="DB Office"/>
                  </a:defRPr>
                </a:lvl2pPr>
                <a:lvl3pPr marL="355600" lvl="2" indent="-177800">
                  <a:spcBef>
                    <a:spcPts val="300"/>
                  </a:spcBef>
                  <a:buClr>
                    <a:srgbClr val="FF0000"/>
                  </a:buClr>
                  <a:buFont typeface="Symbol" pitchFamily="18" charset="2"/>
                  <a:buChar char="-"/>
                  <a:tabLst/>
                  <a:defRPr sz="1400" baseline="0">
                    <a:solidFill>
                      <a:srgbClr val="000000"/>
                    </a:solidFill>
                    <a:latin typeface="DB Office"/>
                  </a:defRPr>
                </a:lvl3pPr>
                <a:lvl4pPr marL="533400" lvl="3" indent="-177800">
                  <a:spcBef>
                    <a:spcPts val="300"/>
                  </a:spcBef>
                  <a:buClr>
                    <a:srgbClr val="FF0000"/>
                  </a:buClr>
                  <a:buSzPct val="100000"/>
                  <a:buFont typeface="Wingdings" pitchFamily="2" charset="2"/>
                  <a:buChar char="§"/>
                  <a:defRPr sz="1400">
                    <a:solidFill>
                      <a:srgbClr val="000000"/>
                    </a:solidFill>
                    <a:latin typeface="DB Office"/>
                  </a:defRPr>
                </a:lvl4pPr>
                <a:lvl5pPr marL="723900" indent="-190500">
                  <a:spcBef>
                    <a:spcPts val="300"/>
                  </a:spcBef>
                  <a:buClr>
                    <a:srgbClr val="FF0000"/>
                  </a:buClr>
                  <a:buSzPct val="100000"/>
                  <a:buFont typeface="Wingdings" pitchFamily="2" charset="2"/>
                  <a:buChar char=""/>
                  <a:defRPr sz="1400" baseline="0">
                    <a:latin typeface="DB Office" pitchFamily="34" charset="0"/>
                  </a:defRPr>
                </a:lvl5pPr>
                <a:lvl6pPr marL="901700" indent="-177800">
                  <a:spcBef>
                    <a:spcPct val="20000"/>
                  </a:spcBef>
                  <a:buClr>
                    <a:srgbClr val="FF0000"/>
                  </a:buClr>
                  <a:buFont typeface="Wingdings" pitchFamily="2" charset="2"/>
                  <a:buChar char="§"/>
                  <a:defRPr sz="1400">
                    <a:latin typeface="DB Office" pitchFamily="34" charset="0"/>
                  </a:defRPr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lvl="1">
                  <a:spcBef>
                    <a:spcPts val="300"/>
                  </a:spcBef>
                </a:pPr>
                <a:r>
                  <a:rPr lang="de-DE" sz="1200" dirty="0" smtClean="0"/>
                  <a:t>Annahme: </a:t>
                </a:r>
                <a14:m>
                  <m:oMath xmlns:m="http://schemas.openxmlformats.org/officeDocument/2006/math">
                    <m:r>
                      <a:rPr lang="de-DE" sz="1200" i="1">
                        <a:latin typeface="Cambria Math"/>
                        <a:ea typeface="Cambria Math"/>
                      </a:rPr>
                      <m:t>𝛼</m:t>
                    </m:r>
                    <m:r>
                      <a:rPr lang="de-DE" sz="1200" b="0" i="1" smtClean="0">
                        <a:latin typeface="Cambria Math"/>
                        <a:ea typeface="Cambria Math"/>
                      </a:rPr>
                      <m:t>=</m:t>
                    </m:r>
                    <m:r>
                      <a:rPr lang="de-DE" sz="1200" b="0" i="1" smtClean="0">
                        <a:latin typeface="Cambria Math"/>
                        <a:ea typeface="Cambria Math"/>
                      </a:rPr>
                      <m:t>1</m:t>
                    </m:r>
                  </m:oMath>
                </a14:m>
                <a:r>
                  <a:rPr lang="de-DE" sz="1200" dirty="0" smtClean="0"/>
                  <a:t> </a:t>
                </a:r>
              </a:p>
            </p:txBody>
          </p:sp>
        </mc:Choice>
        <mc:Fallback xmlns="">
          <p:sp>
            <p:nvSpPr>
              <p:cNvPr id="55" name="ElementText1"/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5"/>
                </p:custDataLst>
              </p:nvPr>
            </p:nvSpPr>
            <p:spPr>
              <a:xfrm>
                <a:off x="3654475" y="2924944"/>
                <a:ext cx="3096344" cy="241336"/>
              </a:xfrm>
              <a:prstGeom prst="rect">
                <a:avLst/>
              </a:prstGeom>
              <a:blipFill rotWithShape="1">
                <a:blip r:embed="rId6"/>
                <a:stretch>
                  <a:fillRect l="-2165" t="-23077" b="-1282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hteck 6"/>
              <p:cNvSpPr/>
              <p:nvPr/>
            </p:nvSpPr>
            <p:spPr>
              <a:xfrm>
                <a:off x="3798491" y="3166280"/>
                <a:ext cx="4949825" cy="468333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smtClea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</a:rPr>
                          <m:t>𝑝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/>
                  <a:t> : </a:t>
                </a:r>
                <a:r>
                  <a:rPr lang="de-DE" sz="1200" dirty="0" smtClean="0"/>
                  <a:t> 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𝜔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200" i="1">
                        <a:latin typeface="Cambria Math"/>
                      </a:rPr>
                      <m:t>=</m:t>
                    </m:r>
                    <m:d>
                      <m:dPr>
                        <m:ctrlPr>
                          <a:rPr lang="de-DE" sz="1200" i="1">
                            <a:latin typeface="Cambria Math"/>
                          </a:rPr>
                        </m:ctrlPr>
                      </m:dPr>
                      <m:e>
                        <m:r>
                          <a:rPr lang="de-DE" sz="1200" i="1">
                            <a:latin typeface="Cambria Math"/>
                          </a:rPr>
                          <m:t>2</m:t>
                        </m:r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⋅</m:t>
                        </m:r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2</m:t>
                        </m:r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−</m:t>
                        </m:r>
                        <m:d>
                          <m:dPr>
                            <m:ctrlPr>
                              <a:rPr lang="de-DE" sz="1200" i="1">
                                <a:latin typeface="Cambria Math"/>
                                <a:ea typeface="Cambria Math"/>
                              </a:rPr>
                            </m:ctrlPr>
                          </m:dPr>
                          <m:e>
                            <m:r>
                              <a:rPr lang="de-DE" sz="1200" i="1">
                                <a:latin typeface="Cambria Math"/>
                                <a:ea typeface="Cambria Math"/>
                              </a:rPr>
                              <m:t>1</m:t>
                            </m:r>
                            <m:r>
                              <a:rPr lang="de-DE" sz="1200" i="1">
                                <a:latin typeface="Cambria Math"/>
                                <a:ea typeface="Cambria Math"/>
                              </a:rPr>
                              <m:t>,</m:t>
                            </m:r>
                            <m:r>
                              <a:rPr lang="de-DE" sz="1200" i="1">
                                <a:latin typeface="Cambria Math"/>
                                <a:ea typeface="Cambria Math"/>
                              </a:rPr>
                              <m:t>5</m:t>
                            </m:r>
                            <m:r>
                              <a:rPr lang="de-DE" sz="1200" i="1">
                                <a:latin typeface="Cambria Math"/>
                                <a:ea typeface="Cambria Math"/>
                              </a:rPr>
                              <m:t>⋅</m:t>
                            </m:r>
                            <m:r>
                              <a:rPr lang="de-DE" sz="1200" i="1">
                                <a:latin typeface="Cambria Math"/>
                                <a:ea typeface="Cambria Math"/>
                              </a:rPr>
                              <m:t>2</m:t>
                            </m:r>
                          </m:e>
                        </m:d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⋅</m:t>
                        </m:r>
                        <m:sSubSup>
                          <m:sSubSupPr>
                            <m:ctrlPr>
                              <a:rPr lang="de-DE" sz="1200" i="1">
                                <a:latin typeface="Cambria Math"/>
                                <a:ea typeface="Cambria Math"/>
                              </a:rPr>
                            </m:ctrlPr>
                          </m:sSubSupPr>
                          <m:e>
                            <m:r>
                              <a:rPr lang="de-DE" sz="1200" i="1">
                                <a:latin typeface="Cambria Math"/>
                                <a:ea typeface="Cambria Math"/>
                              </a:rPr>
                              <m:t>𝐵</m:t>
                            </m:r>
                          </m:e>
                          <m:sub>
                            <m:r>
                              <a:rPr lang="de-DE" sz="1200" b="0" i="1" smtClean="0">
                                <a:latin typeface="Cambria Math"/>
                                <a:ea typeface="Cambria Math"/>
                              </a:rPr>
                              <m:t>0</m:t>
                            </m:r>
                          </m:sub>
                          <m:sup>
                            <m:r>
                              <a:rPr lang="de-DE" sz="1200" b="0" i="1" smtClean="0">
                                <a:latin typeface="Cambria Math"/>
                                <a:ea typeface="Cambria Math"/>
                              </a:rPr>
                              <m:t>1</m:t>
                            </m:r>
                          </m:sup>
                        </m:sSubSup>
                      </m:e>
                    </m:d>
                  </m:oMath>
                </a14:m>
                <a:endParaRPr lang="de-DE" sz="1200" dirty="0"/>
              </a:p>
              <a:p>
                <a:r>
                  <a:rPr lang="de-DE" sz="1200" dirty="0" smtClean="0">
                    <a:sym typeface="Wingdings" panose="05000000000000000000" pitchFamily="2" charset="2"/>
                  </a:rPr>
                  <a:t>          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latin typeface="Cambria Math"/>
                            <a:ea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𝐵</m:t>
                        </m:r>
                      </m:e>
                      <m:sub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/>
                  <a:t>=1  </a:t>
                </a:r>
                <a:r>
                  <a:rPr lang="de-DE" sz="1200" dirty="0">
                    <a:sym typeface="Wingdings" panose="05000000000000000000" pitchFamily="2" charset="2"/>
                  </a:rPr>
                  <a:t>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𝜔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200" i="1">
                        <a:latin typeface="Cambria Math"/>
                      </a:rPr>
                      <m:t>=</m:t>
                    </m:r>
                    <m:r>
                      <a:rPr lang="de-DE" sz="1200" i="1">
                        <a:latin typeface="Cambria Math"/>
                      </a:rPr>
                      <m:t>1</m:t>
                    </m:r>
                  </m:oMath>
                </a14:m>
                <a:endParaRPr lang="de-DE" sz="1200" dirty="0"/>
              </a:p>
            </p:txBody>
          </p:sp>
        </mc:Choice>
        <mc:Fallback xmlns="">
          <p:sp>
            <p:nvSpPr>
              <p:cNvPr id="7" name="Rechteck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98491" y="3166280"/>
                <a:ext cx="4949825" cy="468333"/>
              </a:xfrm>
              <a:prstGeom prst="rect">
                <a:avLst/>
              </a:prstGeom>
              <a:blipFill rotWithShape="1">
                <a:blip r:embed="rId7"/>
                <a:stretch>
                  <a:fillRect b="-909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echteck 9"/>
              <p:cNvSpPr/>
              <p:nvPr/>
            </p:nvSpPr>
            <p:spPr>
              <a:xfrm>
                <a:off x="3798491" y="3940755"/>
                <a:ext cx="3015890" cy="27879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smtClea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</a:rPr>
                          <m:t>𝑝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200">
                        <a:latin typeface="Cambria Math"/>
                      </a:rPr>
                      <m:t>:</m:t>
                    </m:r>
                  </m:oMath>
                </a14:m>
                <a:r>
                  <a:rPr lang="de-DE" sz="1200" dirty="0" smtClean="0"/>
                  <a:t>    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𝜔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200" i="1">
                        <a:latin typeface="Cambria Math"/>
                      </a:rPr>
                      <m:t>=</m:t>
                    </m:r>
                    <m:d>
                      <m:dPr>
                        <m:ctrlPr>
                          <a:rPr lang="de-DE" sz="1200" i="1">
                            <a:latin typeface="Cambria Math"/>
                          </a:rPr>
                        </m:ctrlPr>
                      </m:dPr>
                      <m:e>
                        <m:r>
                          <a:rPr lang="de-DE" sz="1200" i="1">
                            <a:latin typeface="Cambria Math"/>
                          </a:rPr>
                          <m:t>2</m:t>
                        </m:r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⋅</m:t>
                        </m:r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2</m:t>
                        </m:r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−</m:t>
                        </m:r>
                        <m:d>
                          <m:dPr>
                            <m:ctrlPr>
                              <a:rPr lang="de-DE" sz="1200" i="1">
                                <a:latin typeface="Cambria Math"/>
                                <a:ea typeface="Cambria Math"/>
                              </a:rPr>
                            </m:ctrlPr>
                          </m:dPr>
                          <m:e>
                            <m:r>
                              <a:rPr lang="de-DE" sz="1200" i="1">
                                <a:latin typeface="Cambria Math"/>
                                <a:ea typeface="Cambria Math"/>
                              </a:rPr>
                              <m:t>1</m:t>
                            </m:r>
                            <m:r>
                              <a:rPr lang="de-DE" sz="1200" i="1">
                                <a:latin typeface="Cambria Math"/>
                                <a:ea typeface="Cambria Math"/>
                              </a:rPr>
                              <m:t>,</m:t>
                            </m:r>
                            <m:r>
                              <a:rPr lang="de-DE" sz="1200" i="1">
                                <a:latin typeface="Cambria Math"/>
                                <a:ea typeface="Cambria Math"/>
                              </a:rPr>
                              <m:t>3</m:t>
                            </m:r>
                            <m:r>
                              <a:rPr lang="de-DE" sz="1200" i="1">
                                <a:latin typeface="Cambria Math"/>
                                <a:ea typeface="Cambria Math"/>
                              </a:rPr>
                              <m:t>⋅</m:t>
                            </m:r>
                            <m:r>
                              <a:rPr lang="de-DE" sz="1200" i="1">
                                <a:latin typeface="Cambria Math"/>
                                <a:ea typeface="Cambria Math"/>
                              </a:rPr>
                              <m:t>1</m:t>
                            </m:r>
                            <m:r>
                              <a:rPr lang="de-DE" sz="1200" i="1">
                                <a:latin typeface="Cambria Math"/>
                                <a:ea typeface="Cambria Math"/>
                              </a:rPr>
                              <m:t>+</m:t>
                            </m:r>
                            <m:r>
                              <a:rPr lang="de-DE" sz="1200" i="1">
                                <a:latin typeface="Cambria Math"/>
                                <a:ea typeface="Cambria Math"/>
                              </a:rPr>
                              <m:t>1</m:t>
                            </m:r>
                            <m:r>
                              <a:rPr lang="de-DE" sz="1200" i="1">
                                <a:latin typeface="Cambria Math"/>
                                <a:ea typeface="Cambria Math"/>
                              </a:rPr>
                              <m:t>,</m:t>
                            </m:r>
                            <m:r>
                              <a:rPr lang="de-DE" sz="1200" i="1">
                                <a:latin typeface="Cambria Math"/>
                                <a:ea typeface="Cambria Math"/>
                              </a:rPr>
                              <m:t>5</m:t>
                            </m:r>
                            <m:r>
                              <a:rPr lang="de-DE" sz="1200" i="1">
                                <a:latin typeface="Cambria Math"/>
                                <a:ea typeface="Cambria Math"/>
                              </a:rPr>
                              <m:t>⋅</m:t>
                            </m:r>
                            <m:r>
                              <a:rPr lang="de-DE" sz="1200" i="1">
                                <a:latin typeface="Cambria Math"/>
                                <a:ea typeface="Cambria Math"/>
                              </a:rPr>
                              <m:t>1</m:t>
                            </m:r>
                          </m:e>
                        </m:d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⋅</m:t>
                        </m:r>
                        <m:sSubSup>
                          <m:sSubSupPr>
                            <m:ctrlPr>
                              <a:rPr lang="de-DE" sz="1200" i="1">
                                <a:latin typeface="Cambria Math"/>
                                <a:ea typeface="Cambria Math"/>
                              </a:rPr>
                            </m:ctrlPr>
                          </m:sSubSupPr>
                          <m:e>
                            <m:r>
                              <a:rPr lang="de-DE" sz="1200" i="1">
                                <a:latin typeface="Cambria Math"/>
                                <a:ea typeface="Cambria Math"/>
                              </a:rPr>
                              <m:t>𝐵</m:t>
                            </m:r>
                          </m:e>
                          <m:sub>
                            <m:r>
                              <a:rPr lang="de-DE" sz="1200" b="0" i="1" smtClean="0">
                                <a:latin typeface="Cambria Math"/>
                                <a:ea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200" i="1">
                                <a:latin typeface="Cambria Math"/>
                                <a:ea typeface="Cambria Math"/>
                              </a:rPr>
                              <m:t>1</m:t>
                            </m:r>
                          </m:sup>
                        </m:sSubSup>
                      </m:e>
                    </m:d>
                  </m:oMath>
                </a14:m>
                <a:endParaRPr lang="de-DE" sz="1200" dirty="0"/>
              </a:p>
            </p:txBody>
          </p:sp>
        </mc:Choice>
        <mc:Fallback xmlns="">
          <p:sp>
            <p:nvSpPr>
              <p:cNvPr id="10" name="Rechteck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98491" y="3940755"/>
                <a:ext cx="3015890" cy="278794"/>
              </a:xfrm>
              <a:prstGeom prst="rect">
                <a:avLst/>
              </a:prstGeom>
              <a:blipFill rotWithShape="1"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hteck 10"/>
              <p:cNvSpPr/>
              <p:nvPr/>
            </p:nvSpPr>
            <p:spPr>
              <a:xfrm>
                <a:off x="4275906" y="4294922"/>
                <a:ext cx="4949825" cy="2353978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r>
                  <a:rPr lang="de-DE" sz="1200" dirty="0" smtClean="0"/>
                  <a:t>Im Folgenden: Zwei Beispiele mit unterschiedlicher Homogenitätskennzahl, um Funktionsweise zu zeigen</a:t>
                </a:r>
              </a:p>
              <a:p>
                <a:endParaRPr lang="de-DE" sz="1200" dirty="0" smtClean="0"/>
              </a:p>
              <a:p>
                <a:r>
                  <a:rPr lang="de-DE" sz="1200" u="sng" dirty="0" smtClean="0"/>
                  <a:t>Fall 1:</a:t>
                </a:r>
              </a:p>
              <a:p>
                <a:r>
                  <a:rPr lang="de-DE" sz="1200" dirty="0"/>
                  <a:t>für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latin typeface="Cambria Math"/>
                            <a:ea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𝐵</m:t>
                        </m:r>
                      </m:e>
                      <m:sub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1</m:t>
                        </m:r>
                      </m:sub>
                      <m:sup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 smtClean="0"/>
                  <a:t> = 0,8 </a:t>
                </a:r>
                <a:r>
                  <a:rPr lang="de-DE" sz="1200" dirty="0">
                    <a:sym typeface="Wingdings" panose="05000000000000000000" pitchFamily="2" charset="2"/>
                  </a:rPr>
                  <a:t>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𝜔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200" i="1">
                        <a:latin typeface="Cambria Math"/>
                      </a:rPr>
                      <m:t>=</m:t>
                    </m:r>
                    <m:r>
                      <a:rPr lang="de-DE" sz="1200" i="1">
                        <a:latin typeface="Cambria Math"/>
                      </a:rPr>
                      <m:t>0</m:t>
                    </m:r>
                    <m:r>
                      <a:rPr lang="de-DE" sz="1200" i="1">
                        <a:latin typeface="Cambria Math"/>
                      </a:rPr>
                      <m:t>,</m:t>
                    </m:r>
                    <m:r>
                      <a:rPr lang="de-DE" sz="1200" i="1">
                        <a:latin typeface="Cambria Math"/>
                      </a:rPr>
                      <m:t>96</m:t>
                    </m:r>
                  </m:oMath>
                </a14:m>
                <a:r>
                  <a:rPr lang="de-DE" sz="1200" dirty="0"/>
                  <a:t> </a:t>
                </a:r>
                <a14:m>
                  <m:oMath xmlns:m="http://schemas.openxmlformats.org/officeDocument/2006/math">
                    <m:r>
                      <a:rPr lang="de-DE" sz="1200" i="1" dirty="0">
                        <a:latin typeface="Cambria Math"/>
                        <a:ea typeface="Cambria Math"/>
                      </a:rPr>
                      <m:t>&lt;</m:t>
                    </m:r>
                    <m:sSubSup>
                      <m:sSubSupPr>
                        <m:ctrlPr>
                          <a:rPr lang="de-DE" sz="12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𝜔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>
                    <a:sym typeface="Wingdings" panose="05000000000000000000" pitchFamily="2" charset="2"/>
                  </a:rPr>
                  <a:t>		</a:t>
                </a:r>
                <a:r>
                  <a:rPr lang="de-DE" sz="1200" dirty="0" smtClean="0">
                    <a:sym typeface="Wingdings" panose="05000000000000000000" pitchFamily="2" charset="2"/>
                  </a:rPr>
                  <a:t/>
                </a:r>
                <a:br>
                  <a:rPr lang="de-DE" sz="1200" dirty="0" smtClean="0">
                    <a:sym typeface="Wingdings" panose="05000000000000000000" pitchFamily="2" charset="2"/>
                  </a:rPr>
                </a:br>
                <a:r>
                  <a:rPr lang="de-DE" sz="1200" dirty="0" smtClean="0">
                    <a:sym typeface="Wingdings" panose="05000000000000000000" pitchFamily="2" charset="2"/>
                  </a:rPr>
                  <a:t> </a:t>
                </a:r>
                <a:r>
                  <a:rPr lang="de-DE" sz="1200" dirty="0">
                    <a:sym typeface="Wingdings" panose="05000000000000000000" pitchFamily="2" charset="2"/>
                  </a:rPr>
                  <a:t>Erweiterung </a:t>
                </a:r>
                <a:r>
                  <a:rPr lang="de-DE" sz="1200" dirty="0" smtClean="0">
                    <a:sym typeface="Wingdings" panose="05000000000000000000" pitchFamily="2" charset="2"/>
                  </a:rPr>
                  <a:t>um </a:t>
                </a:r>
                <a:r>
                  <a:rPr lang="de-DE" sz="1200" dirty="0">
                    <a:sym typeface="Wingdings" panose="05000000000000000000" pitchFamily="2" charset="2"/>
                  </a:rPr>
                  <a:t>Systemtrass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>
                            <a:latin typeface="Cambria Math"/>
                            <a:sym typeface="Wingdings" panose="05000000000000000000" pitchFamily="2" charset="2"/>
                          </a:rPr>
                        </m:ctrlPr>
                      </m:sSubPr>
                      <m:e>
                        <m:r>
                          <a:rPr lang="de-DE" sz="1200" i="1">
                            <a:latin typeface="Cambria Math"/>
                            <a:sym typeface="Wingdings" panose="05000000000000000000" pitchFamily="2" charset="2"/>
                          </a:rPr>
                          <m:t>𝑠</m:t>
                        </m:r>
                      </m:e>
                      <m:sub>
                        <m:r>
                          <a:rPr lang="de-DE" sz="1200" i="1">
                            <a:latin typeface="Cambria Math"/>
                            <a:sym typeface="Wingdings" panose="05000000000000000000" pitchFamily="2" charset="2"/>
                          </a:rPr>
                          <m:t>2</m:t>
                        </m:r>
                      </m:sub>
                    </m:sSub>
                  </m:oMath>
                </a14:m>
                <a:r>
                  <a:rPr lang="de-DE" sz="1200" dirty="0">
                    <a:sym typeface="Wingdings" panose="05000000000000000000" pitchFamily="2" charset="2"/>
                  </a:rPr>
                  <a:t> für Partition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</a:rPr>
                          <m:t>𝑝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/>
                  <a:t> für SAT</a:t>
                </a:r>
                <a:r>
                  <a:rPr lang="de-DE" sz="1200" dirty="0" smtClean="0"/>
                  <a:t/>
                </a:r>
                <a:br>
                  <a:rPr lang="de-DE" sz="1200" dirty="0" smtClean="0"/>
                </a:br>
                <a:r>
                  <a:rPr lang="de-DE" sz="1200" dirty="0" smtClean="0">
                    <a:sym typeface="Wingdings" panose="05000000000000000000" pitchFamily="2" charset="2"/>
                  </a:rPr>
                  <a:t>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200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200" i="1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200" i="1" smtClea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200" b="0" i="1" smtClean="0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200" b="0" i="1" smtClean="0">
                                <a:latin typeface="Cambria Math"/>
                              </a:rPr>
                              <m:t>1</m:t>
                            </m:r>
                          </m:sub>
                        </m:sSub>
                        <m:r>
                          <a:rPr lang="de-DE" sz="1200" b="0" i="1" smtClean="0"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2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2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200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endParaRPr lang="de-DE" sz="1200" dirty="0"/>
              </a:p>
              <a:p>
                <a:endParaRPr lang="de-DE" sz="1200" dirty="0"/>
              </a:p>
              <a:p>
                <a:r>
                  <a:rPr lang="de-DE" sz="1200" u="sng" dirty="0"/>
                  <a:t>Fall 2:</a:t>
                </a:r>
              </a:p>
              <a:p>
                <a:r>
                  <a:rPr lang="de-DE" sz="1200" dirty="0"/>
                  <a:t>f</a:t>
                </a:r>
                <a:r>
                  <a:rPr lang="de-DE" sz="1200" dirty="0" smtClean="0"/>
                  <a:t>ür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latin typeface="Cambria Math"/>
                            <a:ea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𝐵</m:t>
                        </m:r>
                      </m:e>
                      <m:sub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1</m:t>
                        </m:r>
                      </m:sub>
                      <m:sup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/>
                  <a:t>= 0,9 </a:t>
                </a:r>
                <a:r>
                  <a:rPr lang="de-DE" sz="1200" dirty="0">
                    <a:sym typeface="Wingdings" panose="05000000000000000000" pitchFamily="2" charset="2"/>
                  </a:rPr>
                  <a:t>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𝜔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200" i="1">
                        <a:latin typeface="Cambria Math"/>
                      </a:rPr>
                      <m:t>=</m:t>
                    </m:r>
                    <m:r>
                      <a:rPr lang="de-DE" sz="1200" i="1">
                        <a:latin typeface="Cambria Math"/>
                      </a:rPr>
                      <m:t>1</m:t>
                    </m:r>
                    <m:r>
                      <a:rPr lang="de-DE" sz="1200" i="1">
                        <a:latin typeface="Cambria Math"/>
                      </a:rPr>
                      <m:t>,</m:t>
                    </m:r>
                    <m:r>
                      <a:rPr lang="de-DE" sz="1200" i="1">
                        <a:latin typeface="Cambria Math"/>
                      </a:rPr>
                      <m:t>08</m:t>
                    </m:r>
                    <m:r>
                      <a:rPr lang="de-DE" sz="1200" i="1">
                        <a:latin typeface="Cambria Math"/>
                        <a:ea typeface="Cambria Math"/>
                      </a:rPr>
                      <m:t>&gt;</m:t>
                    </m:r>
                    <m:sSubSup>
                      <m:sSubSupPr>
                        <m:ctrlPr>
                          <a:rPr lang="de-DE" sz="12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𝜔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 smtClean="0">
                    <a:sym typeface="Wingdings" panose="05000000000000000000" pitchFamily="2" charset="2"/>
                  </a:rPr>
                  <a:t/>
                </a:r>
                <a:br>
                  <a:rPr lang="de-DE" sz="1200" dirty="0" smtClean="0">
                    <a:sym typeface="Wingdings" panose="05000000000000000000" pitchFamily="2" charset="2"/>
                  </a:rPr>
                </a:br>
                <a:r>
                  <a:rPr lang="de-DE" sz="1200" dirty="0" smtClean="0">
                    <a:sym typeface="Wingdings" panose="05000000000000000000" pitchFamily="2" charset="2"/>
                  </a:rPr>
                  <a:t> </a:t>
                </a:r>
                <a:r>
                  <a:rPr lang="de-DE" sz="1200" dirty="0">
                    <a:sym typeface="Wingdings" panose="05000000000000000000" pitchFamily="2" charset="2"/>
                  </a:rPr>
                  <a:t>Hinzufügen der Partition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</a:rPr>
                          <m:t>𝑝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/>
                  <a:t> für </a:t>
                </a:r>
                <a:r>
                  <a:rPr lang="de-DE" sz="1200" dirty="0" smtClean="0"/>
                  <a:t>SAT</a:t>
                </a:r>
                <a:br>
                  <a:rPr lang="de-DE" sz="1200" dirty="0" smtClean="0"/>
                </a:br>
                <a:r>
                  <a:rPr lang="de-DE" sz="1200" dirty="0" smtClean="0">
                    <a:sym typeface="Wingdings" panose="05000000000000000000" pitchFamily="2" charset="2"/>
                  </a:rPr>
                  <a:t></a:t>
                </a:r>
                <a14:m>
                  <m:oMath xmlns:m="http://schemas.openxmlformats.org/officeDocument/2006/math">
                    <m:r>
                      <a:rPr lang="de-DE" sz="1200" b="0" i="0" smtClean="0">
                        <a:latin typeface="Cambria Math"/>
                      </a:rPr>
                      <m:t> </m:t>
                    </m:r>
                    <m:sSubSup>
                      <m:sSubSupPr>
                        <m:ctrlPr>
                          <a:rPr lang="de-DE" sz="12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200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200" i="1"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2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2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2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200" i="1">
                                <a:latin typeface="Cambria Math"/>
                              </a:rPr>
                              <m:t>′</m:t>
                            </m:r>
                          </m:sup>
                        </m:sSubSup>
                        <m:r>
                          <a:rPr lang="de-DE" sz="1200" i="1">
                            <a:latin typeface="Cambria Math"/>
                          </a:rPr>
                          <m:t> </m:t>
                        </m:r>
                      </m:e>
                    </m:d>
                  </m:oMath>
                </a14:m>
                <a:r>
                  <a:rPr lang="de-DE" sz="1200" dirty="0"/>
                  <a:t> ;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200" i="1"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200" i="1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2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2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200" i="1"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endParaRPr lang="de-DE" sz="1200" dirty="0"/>
              </a:p>
            </p:txBody>
          </p:sp>
        </mc:Choice>
        <mc:Fallback xmlns="">
          <p:sp>
            <p:nvSpPr>
              <p:cNvPr id="11" name="Rechteck 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75906" y="4294922"/>
                <a:ext cx="4949825" cy="2353978"/>
              </a:xfrm>
              <a:prstGeom prst="rect">
                <a:avLst/>
              </a:prstGeom>
              <a:blipFill rotWithShape="1">
                <a:blip r:embed="rId9"/>
                <a:stretch>
                  <a:fillRect t="-25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6" name="Rechteck 35"/>
              <p:cNvSpPr/>
              <p:nvPr/>
            </p:nvSpPr>
            <p:spPr>
              <a:xfrm>
                <a:off x="6839168" y="5556289"/>
                <a:ext cx="3062070" cy="464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de-DE" sz="1200" dirty="0" smtClean="0">
                    <a:solidFill>
                      <a:schemeClr val="accent2"/>
                    </a:solidFill>
                  </a:rPr>
                  <a:t>Oder: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smtClean="0">
                            <a:solidFill>
                              <a:schemeClr val="accent2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solidFill>
                              <a:schemeClr val="accent2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>
                            <a:solidFill>
                              <a:schemeClr val="accent2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>
                            <a:solidFill>
                              <a:schemeClr val="accent2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200" i="1">
                        <a:solidFill>
                          <a:schemeClr val="accent2"/>
                        </a:solidFill>
                        <a:latin typeface="Cambria Math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de-DE" sz="1200" i="1">
                            <a:solidFill>
                              <a:schemeClr val="accent2"/>
                            </a:solidFill>
                            <a:latin typeface="Cambria Math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de-DE" sz="1200" i="1">
                                <a:solidFill>
                                  <a:schemeClr val="accent2"/>
                                </a:solidFill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200" i="1">
                                <a:solidFill>
                                  <a:schemeClr val="accent2"/>
                                </a:solidFill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200" i="1">
                                <a:solidFill>
                                  <a:schemeClr val="accent2"/>
                                </a:solidFill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200" i="1">
                                <a:solidFill>
                                  <a:schemeClr val="accent2"/>
                                </a:solidFill>
                                <a:latin typeface="Cambria Math"/>
                              </a:rPr>
                              <m:t>′</m:t>
                            </m:r>
                          </m:sup>
                        </m:sSubSup>
                        <m:r>
                          <a:rPr lang="de-DE" sz="1200" i="1">
                            <a:solidFill>
                              <a:schemeClr val="accent2"/>
                            </a:solidFill>
                            <a:latin typeface="Cambria Math"/>
                          </a:rPr>
                          <m:t>,</m:t>
                        </m:r>
                        <m:sSubSup>
                          <m:sSubSupPr>
                            <m:ctrlPr>
                              <a:rPr lang="de-DE" sz="1200" i="1">
                                <a:solidFill>
                                  <a:schemeClr val="accent2"/>
                                </a:solidFill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200" i="1">
                                <a:solidFill>
                                  <a:schemeClr val="accent2"/>
                                </a:solidFill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200" i="1">
                                <a:solidFill>
                                  <a:schemeClr val="accent2"/>
                                </a:solidFill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200" i="1">
                                <a:solidFill>
                                  <a:schemeClr val="accent2"/>
                                </a:solidFill>
                                <a:latin typeface="Cambria Math"/>
                              </a:rPr>
                              <m:t>′′</m:t>
                            </m:r>
                          </m:sup>
                        </m:sSubSup>
                        <m:r>
                          <a:rPr lang="de-DE" sz="1200" i="1">
                            <a:solidFill>
                              <a:schemeClr val="accent2"/>
                            </a:solidFill>
                            <a:latin typeface="Cambria Math"/>
                          </a:rPr>
                          <m:t>,</m:t>
                        </m:r>
                        <m:sSub>
                          <m:sSubPr>
                            <m:ctrlPr>
                              <a:rPr lang="de-DE" sz="1200" i="1">
                                <a:solidFill>
                                  <a:schemeClr val="accent2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200" i="1">
                                <a:solidFill>
                                  <a:schemeClr val="accent2"/>
                                </a:solidFill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200" i="1">
                                <a:solidFill>
                                  <a:schemeClr val="accent2"/>
                                </a:solidFill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sz="1200" dirty="0" smtClean="0">
                    <a:solidFill>
                      <a:schemeClr val="accent2"/>
                    </a:solidFill>
                  </a:rPr>
                  <a:t> und Sicherstellen, dass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solidFill>
                              <a:schemeClr val="accent2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solidFill>
                              <a:schemeClr val="accent2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>
                            <a:solidFill>
                              <a:schemeClr val="accent2"/>
                            </a:solidFill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i="1">
                            <a:solidFill>
                              <a:schemeClr val="accent2"/>
                            </a:solidFill>
                            <a:latin typeface="Cambria Math"/>
                          </a:rPr>
                          <m:t>′</m:t>
                        </m:r>
                      </m:sup>
                    </m:sSubSup>
                    <m:r>
                      <a:rPr lang="de-DE" sz="1200" b="0" i="1" smtClean="0">
                        <a:solidFill>
                          <a:schemeClr val="accent2"/>
                        </a:solidFill>
                        <a:latin typeface="Cambria Math"/>
                      </a:rPr>
                      <m:t> </m:t>
                    </m:r>
                    <m:r>
                      <a:rPr lang="de-DE" sz="1200" b="0" i="1" smtClean="0">
                        <a:solidFill>
                          <a:schemeClr val="accent2"/>
                        </a:solidFill>
                        <a:latin typeface="Cambria Math"/>
                      </a:rPr>
                      <m:t>𝑢𝑛𝑑</m:t>
                    </m:r>
                    <m:r>
                      <a:rPr lang="de-DE" sz="1200" b="0" i="1" smtClean="0">
                        <a:solidFill>
                          <a:schemeClr val="accent2"/>
                        </a:solidFill>
                        <a:latin typeface="Cambria Math"/>
                      </a:rPr>
                      <m:t> </m:t>
                    </m:r>
                    <m:sSubSup>
                      <m:sSubSupPr>
                        <m:ctrlPr>
                          <a:rPr lang="de-DE" sz="1200" i="1">
                            <a:solidFill>
                              <a:schemeClr val="accent2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solidFill>
                              <a:schemeClr val="accent2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>
                            <a:solidFill>
                              <a:schemeClr val="accent2"/>
                            </a:solidFill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i="1">
                            <a:solidFill>
                              <a:schemeClr val="accent2"/>
                            </a:solidFill>
                            <a:latin typeface="Cambria Math"/>
                          </a:rPr>
                          <m:t>′′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chemeClr val="accent2"/>
                    </a:solidFill>
                  </a:rPr>
                  <a:t> beide aktiv?</a:t>
                </a:r>
                <a:endParaRPr lang="de-DE" sz="12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36" name="Rechteck 3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9168" y="5556289"/>
                <a:ext cx="3062070" cy="464999"/>
              </a:xfrm>
              <a:prstGeom prst="rect">
                <a:avLst/>
              </a:prstGeom>
              <a:blipFill rotWithShape="1">
                <a:blip r:embed="rId10"/>
                <a:stretch>
                  <a:fillRect l="-199" b="-779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7" name="Gerade Verbindung mit Pfeil 56"/>
          <p:cNvCxnSpPr/>
          <p:nvPr/>
        </p:nvCxnSpPr>
        <p:spPr bwMode="auto">
          <a:xfrm flipH="1" flipV="1">
            <a:off x="5454675" y="5556289"/>
            <a:ext cx="1384493" cy="23249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006944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RITE-PROTECTED" val="false"/>
  <p:tag name="THINKCELLPRESENTATIONDONOTDELETE" val="&lt;?xml version=&quot;1.0&quot; encoding=&quot;UTF-16&quot; standalone=&quot;yes&quot;?&gt;&lt;root reqver=&quot;23045&quot;&gt;&lt;version val=&quot;2416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89999999999999990000E+000&quot;&gt;&lt;m_msothmcolidx val=&quot;0&quot;/&gt;&lt;m_rgb r=&quot;C8&quot; g=&quot;C8&quot; b=&quot;CD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SHOWAGENDASLIDENUMBER" val="no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AUTOSHAP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923443"/>
  <p:tag name="AGENDAHATSEITENZAHL" val="0"/>
  <p:tag name="AGENDATYP" val="1"/>
  <p:tag name="AGENDAPUNKT" val="1"/>
  <p:tag name="AGENDAFIRSTCHAPTER" val="1"/>
  <p:tag name="AGENDASHOW2NDLEVEL" val="0"/>
  <p:tag name="AGENDAEBENE" val="1"/>
  <p:tag name="AGENDAITEM" val="Offene Fragen / Diskussionstheme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FIXED" val="yes"/>
  <p:tag name="FIXEDLEFT" val="d155905,5"/>
  <p:tag name="FIXEDTOP" val="d317480,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Iop3w_y0uTEoM_t1AAQ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jTWmRvukKegMDPPXcb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MINIMIZE" val="-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AUTOSHAP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AUTOSHAP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AUTOSHAP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AUTOSHAP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AUTOSHAP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923443"/>
  <p:tag name="AGENDAHATSEITENZAHL" val="0"/>
  <p:tag name="AGENDATYP" val="1"/>
  <p:tag name="AGENDAFIRSTCHAPTER" val="1"/>
  <p:tag name="AGENDASHOW2NDLEVEL" val="0"/>
  <p:tag name="AGENDAPUNKT" val="2"/>
  <p:tag name="AGENDAEBENE" val="1"/>
  <p:tag name="AGENDAITEM" val="Analyse der Fahrlage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FIXED" val="yes"/>
  <p:tag name="FIXEDLEFT" val="d155905,5"/>
  <p:tag name="FIXEDTOP" val="d317480,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Iop3w_y0uTEoM_t1AAQ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jTWmRvukKegMDPPXcbL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w5DhhhQCqjtx.WZpZ73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923443"/>
  <p:tag name="AGENDAHATSEITENZAHL" val="0"/>
  <p:tag name="AGENDATYP" val="1"/>
  <p:tag name="AGENDAFIRSTCHAPTER" val="1"/>
  <p:tag name="AGENDASHOW2NDLEVEL" val="0"/>
  <p:tag name="AGENDAPUNKT" val="3"/>
  <p:tag name="AGENDAEBENE" val="1"/>
  <p:tag name="AGENDAITEM" val="Beispiel Modellformulierun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FIXED" val="yes"/>
  <p:tag name="FIXEDLEFT" val="d155905,5"/>
  <p:tag name="FIXEDTOP" val="d317480,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Iop3w_y0uTEoM_t1AAQ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jTWmRvukKegMDPPXcb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MINIMIZE" val="-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AUTOSHAP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MINIMIZE" val="-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SFMI;SPNM"/>
  <p:tag name="SLIDELANGUAGE" val="msoLanguageIDGerma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 Master 2016">
  <a:themeElements>
    <a:clrScheme name="DB_rot">
      <a:dk1>
        <a:srgbClr val="000000"/>
      </a:dk1>
      <a:lt1>
        <a:srgbClr val="FFFFFF"/>
      </a:lt1>
      <a:dk2>
        <a:srgbClr val="000000"/>
      </a:dk2>
      <a:lt2>
        <a:srgbClr val="878C96"/>
      </a:lt2>
      <a:accent1>
        <a:srgbClr val="C8CDD2"/>
      </a:accent1>
      <a:accent2>
        <a:srgbClr val="FF0000"/>
      </a:accent2>
      <a:accent3>
        <a:srgbClr val="E1E6EB"/>
      </a:accent3>
      <a:accent4>
        <a:srgbClr val="C8CDD2"/>
      </a:accent4>
      <a:accent5>
        <a:srgbClr val="646973"/>
      </a:accent5>
      <a:accent6>
        <a:srgbClr val="E1E6EB"/>
      </a:accent6>
      <a:hlink>
        <a:srgbClr val="646973"/>
      </a:hlink>
      <a:folHlink>
        <a:srgbClr val="C8CDD2"/>
      </a:folHlink>
    </a:clrScheme>
    <a:fontScheme name="DB_2010">
      <a:majorFont>
        <a:latin typeface="DB Office"/>
        <a:ea typeface=""/>
        <a:cs typeface=""/>
      </a:majorFont>
      <a:minorFont>
        <a:latin typeface="DB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878C9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rgbClr val="FFFFFF"/>
            </a:solidFill>
            <a:effectLst/>
            <a:latin typeface="DB Office" pitchFamily="34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rgbClr val="878C96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spcBef>
            <a:spcPts val="600"/>
          </a:spcBef>
          <a:buClr>
            <a:srgbClr val="FF0000"/>
          </a:buClr>
          <a:buSzPct val="85000"/>
          <a:defRPr sz="1400" dirty="0" err="1" smtClean="0">
            <a:solidFill>
              <a:srgbClr val="000000"/>
            </a:solidFill>
            <a:latin typeface="DB Office"/>
          </a:defRPr>
        </a:defPPr>
      </a:lstStyle>
    </a:txDef>
  </a:objectDefaults>
  <a:extraClrSchemeLst/>
  <a:custClrLst>
    <a:custClr name="DB Rot">
      <a:srgbClr val="FF0000"/>
    </a:custClr>
    <a:custClr name="DB Blau">
      <a:srgbClr val="000066"/>
    </a:custClr>
    <a:custClr name="DB Grau">
      <a:srgbClr val="878C96"/>
    </a:custClr>
    <a:custClr name="Signalblau">
      <a:srgbClr val="004BB4"/>
    </a:custClr>
    <a:custClr name="Verkehrsblau">
      <a:srgbClr val="055573"/>
    </a:custClr>
    <a:custClr name="Opalgrün">
      <a:srgbClr val="286969"/>
    </a:custClr>
    <a:custClr name="Türkisgrün">
      <a:srgbClr val="286E46"/>
    </a:custClr>
    <a:custClr name="Grasgrün">
      <a:srgbClr val="00AA00"/>
    </a:custClr>
    <a:custClr name="Gelbgrün">
      <a:srgbClr val="8CB90F"/>
    </a:custClr>
    <a:custClr name="S-Bahn Grün (Sonderstatus)">
      <a:srgbClr val="408335"/>
    </a:custClr>
    <a:custClr name="Gelb">
      <a:srgbClr val="F0CD0A"/>
    </a:custClr>
    <a:custClr name="Sonnengelb">
      <a:srgbClr val="FFAF00"/>
    </a:custClr>
    <a:custClr name="Verkehrsorange">
      <a:srgbClr val="E67800"/>
    </a:custClr>
    <a:custClr name="Orangebraun">
      <a:srgbClr val="8C5A00"/>
    </a:custClr>
    <a:custClr name="Rubinrot">
      <a:srgbClr val="962832"/>
    </a:custClr>
    <a:custClr name="Purpurviolett">
      <a:srgbClr val="4D186E"/>
    </a:custClr>
    <a:custClr name="Gelb (Pastell)">
      <a:srgbClr val="FDF6B1"/>
    </a:custClr>
    <a:custClr name="Verkehrsorange (Pastell)">
      <a:srgbClr val="FCB76C"/>
    </a:custClr>
    <a:custClr name="Signalblau (Pastell)">
      <a:srgbClr val="BBCAEA"/>
    </a:custClr>
    <a:custClr name="Gelbgrün (Pastell)">
      <a:srgbClr val="DDEDB1"/>
    </a:custClr>
    <a:custClr name="Grau Stufe 1">
      <a:srgbClr val="E6E6E6"/>
    </a:custClr>
    <a:custClr name="Grau Stufe 2">
      <a:srgbClr val="CDCDCD"/>
    </a:custClr>
    <a:custClr name="Grau Stufe 3">
      <a:srgbClr val="B4B4B4"/>
    </a:custClr>
    <a:custClr name="Grau Stufe 4">
      <a:srgbClr val="9A9A9A"/>
    </a:custClr>
    <a:custClr name="Grau Stufe 5">
      <a:srgbClr val="818181"/>
    </a:custClr>
    <a:custClr name="Grau Stufe 6">
      <a:srgbClr val="666666"/>
    </a:custClr>
    <a:custClr name="Grau Stufe 7">
      <a:srgbClr val="4B4B4B"/>
    </a:custClr>
    <a:custClr name="Grau Stufe 8">
      <a:srgbClr val="303030"/>
    </a:custClr>
  </a:custClrLst>
</a:theme>
</file>

<file path=ppt/theme/theme2.xml><?xml version="1.0" encoding="utf-8"?>
<a:theme xmlns:a="http://schemas.openxmlformats.org/drawingml/2006/main" name="© DB 2016">
  <a:themeElements>
    <a:clrScheme name="DB_grau">
      <a:dk1>
        <a:srgbClr val="000000"/>
      </a:dk1>
      <a:lt1>
        <a:srgbClr val="FFFFFF"/>
      </a:lt1>
      <a:dk2>
        <a:srgbClr val="000000"/>
      </a:dk2>
      <a:lt2>
        <a:srgbClr val="878C96"/>
      </a:lt2>
      <a:accent1>
        <a:srgbClr val="C8CDD2"/>
      </a:accent1>
      <a:accent2>
        <a:srgbClr val="878C96"/>
      </a:accent2>
      <a:accent3>
        <a:srgbClr val="E1E6EB"/>
      </a:accent3>
      <a:accent4>
        <a:srgbClr val="C8CDD2"/>
      </a:accent4>
      <a:accent5>
        <a:srgbClr val="646973"/>
      </a:accent5>
      <a:accent6>
        <a:srgbClr val="E1E6EB"/>
      </a:accent6>
      <a:hlink>
        <a:srgbClr val="646973"/>
      </a:hlink>
      <a:folHlink>
        <a:srgbClr val="C8CDD2"/>
      </a:folHlink>
    </a:clrScheme>
    <a:fontScheme name="DB_2010">
      <a:majorFont>
        <a:latin typeface="DB Office"/>
        <a:ea typeface=""/>
        <a:cs typeface=""/>
      </a:majorFont>
      <a:minorFont>
        <a:latin typeface="DB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72000" rIns="72000" bIns="7200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DB Office" pitchFamily="34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B Rot">
      <a:srgbClr val="FF0000"/>
    </a:custClr>
    <a:custClr name="DB Blau">
      <a:srgbClr val="000066"/>
    </a:custClr>
    <a:custClr name="DB Grau">
      <a:srgbClr val="878C96"/>
    </a:custClr>
    <a:custClr>
      <a:srgbClr val="FFFFFF"/>
    </a:custClr>
    <a:custClr name="Gelb">
      <a:srgbClr val="F0CD0A"/>
    </a:custClr>
    <a:custClr name="Verkehrsorange">
      <a:srgbClr val="E67800"/>
    </a:custClr>
    <a:custClr name="Gelbgrün">
      <a:srgbClr val="8CB90F"/>
    </a:custClr>
    <a:custClr name="Signalblau">
      <a:srgbClr val="004BB4"/>
    </a:custClr>
    <a:custClr>
      <a:srgbClr val="FFFFFF"/>
    </a:custClr>
    <a:custClr name="S-Bahn Grün (Sonderstatus)">
      <a:srgbClr val="408335"/>
    </a:custClr>
    <a:custClr name="Currygelb">
      <a:srgbClr val="918C23"/>
    </a:custClr>
    <a:custClr name="Orangebraun">
      <a:srgbClr val="8C5A00"/>
    </a:custClr>
    <a:custClr name="Rubinrot">
      <a:srgbClr val="962832"/>
    </a:custClr>
    <a:custClr name="Purpurviolett">
      <a:srgbClr val="4D186E"/>
    </a:custClr>
    <a:custClr name="Verkehrsblau">
      <a:srgbClr val="055573"/>
    </a:custClr>
    <a:custClr name="Opalgrün">
      <a:srgbClr val="286969"/>
    </a:custClr>
    <a:custClr name="Türkisgrün">
      <a:srgbClr val="286E46"/>
    </a:custClr>
    <a:custClr name="Farngrün">
      <a:srgbClr val="646E2D"/>
    </a:custClr>
    <a:custClr name="Weiß">
      <a:srgbClr val="FFFFFF"/>
    </a:custClr>
    <a:custClr name="Weiß">
      <a:srgbClr val="FFFFFF"/>
    </a:custClr>
    <a:custClr name="Gelb (Pastell)">
      <a:srgbClr val="FDF6B1"/>
    </a:custClr>
    <a:custClr name="Verkehrsorange (Pastell)">
      <a:srgbClr val="FCB76C"/>
    </a:custClr>
    <a:custClr name="Signalblau (Pastell)">
      <a:srgbClr val="BBCAEA"/>
    </a:custClr>
    <a:custClr name="Gelbgrün (Pastell)">
      <a:srgbClr val="DDEDB1"/>
    </a:custClr>
    <a:custClr name="Weiß">
      <a:srgbClr val="FFFFFF"/>
    </a:custClr>
    <a:custClr name="Weiß">
      <a:srgbClr val="FFFFFF"/>
    </a:custClr>
    <a:custClr name="DB Weißgrau">
      <a:srgbClr val="E1E6EB"/>
    </a:custClr>
    <a:custClr name="DB Hellgrau">
      <a:srgbClr val="C8CDD2"/>
    </a:custClr>
    <a:custClr name="DB Grau">
      <a:srgbClr val="878C96"/>
    </a:custClr>
    <a:custClr name="DB Dunkelgrau">
      <a:srgbClr val="646973"/>
    </a:custClr>
    <a:custClr>
      <a:srgbClr val="E6E6E6"/>
    </a:custClr>
    <a:custClr>
      <a:srgbClr val="CDCDCD"/>
    </a:custClr>
    <a:custClr>
      <a:srgbClr val="B4B4B4"/>
    </a:custClr>
    <a:custClr>
      <a:srgbClr val="9A9A9A"/>
    </a:custClr>
    <a:custClr>
      <a:srgbClr val="818181"/>
    </a:custClr>
    <a:custClr>
      <a:srgbClr val="666666"/>
    </a:custClr>
    <a:custClr>
      <a:srgbClr val="4B4B4B"/>
    </a:custClr>
    <a:custClr>
      <a:srgbClr val="303030"/>
    </a:custClr>
  </a:custClrLst>
</a:theme>
</file>

<file path=ppt/theme/theme3.xml><?xml version="1.0" encoding="utf-8"?>
<a:theme xmlns:a="http://schemas.openxmlformats.org/drawingml/2006/main" name="Larissa">
  <a:themeElements>
    <a:clrScheme name="DB_Farben">
      <a:dk1>
        <a:srgbClr val="000000"/>
      </a:dk1>
      <a:lt1>
        <a:srgbClr val="FFFFFF"/>
      </a:lt1>
      <a:dk2>
        <a:srgbClr val="000000"/>
      </a:dk2>
      <a:lt2>
        <a:srgbClr val="878C96"/>
      </a:lt2>
      <a:accent1>
        <a:srgbClr val="C8C8CD"/>
      </a:accent1>
      <a:accent2>
        <a:srgbClr val="000066"/>
      </a:accent2>
      <a:accent3>
        <a:srgbClr val="FFFFFF"/>
      </a:accent3>
      <a:accent4>
        <a:srgbClr val="000000"/>
      </a:accent4>
      <a:accent5>
        <a:srgbClr val="E0E0E3"/>
      </a:accent5>
      <a:accent6>
        <a:srgbClr val="00005C"/>
      </a:accent6>
      <a:hlink>
        <a:srgbClr val="004BB4"/>
      </a:hlink>
      <a:folHlink>
        <a:srgbClr val="D7DEE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53BE11D3B47B245B92306F14411FD34" ma:contentTypeVersion="" ma:contentTypeDescription="Ein neues Dokument erstellen." ma:contentTypeScope="" ma:versionID="dc526863fe3219376e2ba58c5516399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9b5d665fb7f3700c23109c90d09976c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9170C09-4194-4941-9C65-4A65AB851960}">
  <ds:schemaRefs>
    <ds:schemaRef ds:uri="http://schemas.microsoft.com/office/2006/documentManagement/types"/>
    <ds:schemaRef ds:uri="http://purl.org/dc/elements/1.1/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A73CFC4-9625-4950-815D-B271DD2FC5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5BC043D-0EA7-4A5C-A1E5-C2C6119FC88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300</Words>
  <Application>Microsoft Office PowerPoint</Application>
  <PresentationFormat>Benutzerdefiniert</PresentationFormat>
  <Paragraphs>609</Paragraphs>
  <Slides>28</Slides>
  <Notes>4</Notes>
  <HiddenSlides>0</HiddenSlides>
  <MMClips>0</MMClips>
  <ScaleCrop>false</ScaleCrop>
  <HeadingPairs>
    <vt:vector size="6" baseType="variant"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8</vt:i4>
      </vt:variant>
    </vt:vector>
  </HeadingPairs>
  <TitlesOfParts>
    <vt:vector size="31" baseType="lpstr">
      <vt:lpstr>GS Master 2016</vt:lpstr>
      <vt:lpstr>© DB 2016</vt:lpstr>
      <vt:lpstr>think-cell Folie</vt:lpstr>
      <vt:lpstr>Belegung Gesamtjahr – SAT Modell  </vt:lpstr>
      <vt:lpstr>Ablauf SAT-Modell in der ganzjährigen Belegung (1/X)</vt:lpstr>
      <vt:lpstr>Ablauf SAT-Modell in der ganzjährigen Belegung (2/X)</vt:lpstr>
      <vt:lpstr>Ablauf SAT-Modell in der ganzjährigen Belegung (3/X)</vt:lpstr>
      <vt:lpstr>Ablauf SAT-Modell in der ganzjährigen Belegung (4/X)</vt:lpstr>
      <vt:lpstr>Ablauf SAT-Modell in der ganzjährigen Belegung (5/X)</vt:lpstr>
      <vt:lpstr>Ablauf SAT-Modell in der ganzjährigen Belegung (6/X)</vt:lpstr>
      <vt:lpstr>Ablauf SAT-Modell in der ganzjährigen Belegung (7/X)</vt:lpstr>
      <vt:lpstr>Ablauf SAT-Modell in der ganzjährigen Belegung (7/X)</vt:lpstr>
      <vt:lpstr>Ablauf SAT-Modell in der ganzjährigen Belegung (8/X)</vt:lpstr>
      <vt:lpstr>PowerPoint-Präsentation</vt:lpstr>
      <vt:lpstr>Agenda</vt:lpstr>
      <vt:lpstr>Offene Fragen / Diskussionsthemen zur Erweiterung des SAT-Modells auf das Gesamtjahr (1/2)</vt:lpstr>
      <vt:lpstr>Offene Fragen / Diskussionsthemen zur Erweiterung des SAT-Modells auf das Gesamtjahr (2/2)</vt:lpstr>
      <vt:lpstr>Mögliche Anpassung des Ablaufs</vt:lpstr>
      <vt:lpstr>Mögliche Anpassung des Ablaufs</vt:lpstr>
      <vt:lpstr>Bei tageweiser Sperrung von Systemtrassen / Halteplätzen müssen nur für bestimmte Fahrlagen neue Wege gefunden werden </vt:lpstr>
      <vt:lpstr>Mögliche Anpassung des Ablaufs</vt:lpstr>
      <vt:lpstr>Agenda</vt:lpstr>
      <vt:lpstr>Aus der Überlagerung der Top-20 Verkehrszeiträume ergeben sich 20 unterschiedliche Zustände</vt:lpstr>
      <vt:lpstr>Abhängig davon, wie sich die einzelnen Fahrlagen  überlagern, können viele unterschiedliche Zustände entstehen</vt:lpstr>
      <vt:lpstr>Nur in einer Woche des vorliegenden Nfpl.-Jahres beginnen/enden keine Fahrlagen</vt:lpstr>
      <vt:lpstr>Weitere Zustände ergeben sich bei Berücksichtigung der unterschiedlichen Verkehrstagesregelungen</vt:lpstr>
      <vt:lpstr>Weitere Zustände ergeben sich bei Berücksichtigung der unterschiedlichen Verkehrstagesregelungen</vt:lpstr>
      <vt:lpstr>Agenda</vt:lpstr>
      <vt:lpstr>Mögliche Modellformulierung im mehrtägigen Fall</vt:lpstr>
      <vt:lpstr>PowerPoint-Präsentation</vt:lpstr>
      <vt:lpstr>PowerPoint-Präsentation</vt:lpstr>
    </vt:vector>
  </TitlesOfParts>
  <Company>Deutsche Bah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</dc:title>
  <dc:creator>emredemirpolat</dc:creator>
  <cp:lastModifiedBy>Breun, Patrick</cp:lastModifiedBy>
  <cp:revision>280</cp:revision>
  <cp:lastPrinted>2011-12-21T10:31:26Z</cp:lastPrinted>
  <dcterms:created xsi:type="dcterms:W3CDTF">2012-01-18T08:58:54Z</dcterms:created>
  <dcterms:modified xsi:type="dcterms:W3CDTF">2017-12-21T09:12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53BE11D3B47B245B92306F14411FD34</vt:lpwstr>
  </property>
</Properties>
</file>